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</p:sldMasterIdLst>
  <p:sldIdLst>
    <p:sldId id="257" r:id="rId5"/>
    <p:sldId id="259" r:id="rId6"/>
    <p:sldId id="260" r:id="rId7"/>
    <p:sldId id="261" r:id="rId8"/>
    <p:sldId id="263" r:id="rId9"/>
    <p:sldId id="264" r:id="rId10"/>
    <p:sldId id="265" r:id="rId11"/>
    <p:sldId id="262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22BEF1-1194-4013-B92A-F250A174F6DC}" v="418" dt="2021-01-08T17:09:23.0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19" autoAdjust="0"/>
  </p:normalViewPr>
  <p:slideViewPr>
    <p:cSldViewPr snapToGrid="0">
      <p:cViewPr varScale="1">
        <p:scale>
          <a:sx n="103" d="100"/>
          <a:sy n="103" d="100"/>
        </p:scale>
        <p:origin x="7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seling, Alexander" userId="06e650f9-49f4-4e88-ae32-1515f4b3177f" providerId="ADAL" clId="{2922BEF1-1194-4013-B92A-F250A174F6DC}"/>
    <pc:docChg chg="undo custSel mod addSld delSld modSld">
      <pc:chgData name="Esseling, Alexander" userId="06e650f9-49f4-4e88-ae32-1515f4b3177f" providerId="ADAL" clId="{2922BEF1-1194-4013-B92A-F250A174F6DC}" dt="2021-01-08T17:31:17.137" v="3749" actId="20577"/>
      <pc:docMkLst>
        <pc:docMk/>
      </pc:docMkLst>
      <pc:sldChg chg="addSp delSp modSp">
        <pc:chgData name="Esseling, Alexander" userId="06e650f9-49f4-4e88-ae32-1515f4b3177f" providerId="ADAL" clId="{2922BEF1-1194-4013-B92A-F250A174F6DC}" dt="2021-01-08T17:31:17.137" v="3749" actId="20577"/>
        <pc:sldMkLst>
          <pc:docMk/>
          <pc:sldMk cId="2475805559" sldId="257"/>
        </pc:sldMkLst>
        <pc:spChg chg="mod ord">
          <ac:chgData name="Esseling, Alexander" userId="06e650f9-49f4-4e88-ae32-1515f4b3177f" providerId="ADAL" clId="{2922BEF1-1194-4013-B92A-F250A174F6DC}" dt="2021-01-08T17:31:17.137" v="3749" actId="20577"/>
          <ac:spMkLst>
            <pc:docMk/>
            <pc:sldMk cId="2475805559" sldId="257"/>
            <ac:spMk id="2" creationId="{1C21E816-31F5-48BB-BD02-D15F2F18B48A}"/>
          </ac:spMkLst>
        </pc:spChg>
        <pc:spChg chg="mod ord">
          <ac:chgData name="Esseling, Alexander" userId="06e650f9-49f4-4e88-ae32-1515f4b3177f" providerId="ADAL" clId="{2922BEF1-1194-4013-B92A-F250A174F6DC}" dt="2021-01-08T17:07:14.429" v="3670" actId="20577"/>
          <ac:spMkLst>
            <pc:docMk/>
            <pc:sldMk cId="2475805559" sldId="257"/>
            <ac:spMk id="3" creationId="{835D6E6B-3353-491C-A3C6-F278D6CED8B3}"/>
          </ac:spMkLst>
        </pc:spChg>
        <pc:spChg chg="add mod">
          <ac:chgData name="Esseling, Alexander" userId="06e650f9-49f4-4e88-ae32-1515f4b3177f" providerId="ADAL" clId="{2922BEF1-1194-4013-B92A-F250A174F6DC}" dt="2021-01-08T14:59:32.476" v="2906" actId="1076"/>
          <ac:spMkLst>
            <pc:docMk/>
            <pc:sldMk cId="2475805559" sldId="257"/>
            <ac:spMk id="4" creationId="{10F77E90-BE3D-4F9B-B3FF-0BE90613BA49}"/>
          </ac:spMkLst>
        </pc:spChg>
        <pc:spChg chg="del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18" creationId="{D6D7A0BC-0046-4CAA-8E7F-DCAFE511EA0E}"/>
          </ac:spMkLst>
        </pc:spChg>
        <pc:spChg chg="del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20" creationId="{E7C6334F-6411-41EC-AD7D-179EDD8B58CB}"/>
          </ac:spMkLst>
        </pc:spChg>
        <pc:spChg chg="del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22" creationId="{E6B02CEE-3AF8-4349-9B3E-8970E6DF62B3}"/>
          </ac:spMkLst>
        </pc:spChg>
        <pc:spChg chg="del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24" creationId="{AAA01CF0-3FB5-44EB-B7DE-F2E86374C2FB}"/>
          </ac:spMkLst>
        </pc:spChg>
        <pc:spChg chg="add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71" creationId="{D288F0F8-0A5E-423F-981B-1DD0F80C7E64}"/>
          </ac:spMkLst>
        </pc:spChg>
        <pc:spChg chg="add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73" creationId="{4E51D42D-FC2B-4804-8C86-09DE204AB443}"/>
          </ac:spMkLst>
        </pc:spChg>
        <pc:spChg chg="add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75" creationId="{88F6937D-DCF1-4939-8FF9-3A95710F9E0F}"/>
          </ac:spMkLst>
        </pc:spChg>
        <pc:spChg chg="add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77" creationId="{43299CC6-6A61-4D28-8E30-22B07D78599D}"/>
          </ac:spMkLst>
        </pc:spChg>
        <pc:spChg chg="add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79" creationId="{D281D2FB-C730-485D-A009-EDCDF26B55AB}"/>
          </ac:spMkLst>
        </pc:spChg>
        <pc:spChg chg="add">
          <ac:chgData name="Esseling, Alexander" userId="06e650f9-49f4-4e88-ae32-1515f4b3177f" providerId="ADAL" clId="{2922BEF1-1194-4013-B92A-F250A174F6DC}" dt="2021-01-08T14:57:45.446" v="2884" actId="26606"/>
          <ac:spMkLst>
            <pc:docMk/>
            <pc:sldMk cId="2475805559" sldId="257"/>
            <ac:spMk id="81" creationId="{F0E01980-6B3C-40B6-9701-38B5908B91EE}"/>
          </ac:spMkLst>
        </pc:spChg>
        <pc:picChg chg="del mod">
          <ac:chgData name="Esseling, Alexander" userId="06e650f9-49f4-4e88-ae32-1515f4b3177f" providerId="ADAL" clId="{2922BEF1-1194-4013-B92A-F250A174F6DC}" dt="2021-01-08T14:57:47.784" v="2885" actId="478"/>
          <ac:picMkLst>
            <pc:docMk/>
            <pc:sldMk cId="2475805559" sldId="257"/>
            <ac:picMk id="6" creationId="{F1A8C364-94D4-4630-BAD0-78722F347055}"/>
          </ac:picMkLst>
        </pc:picChg>
        <pc:picChg chg="add mod">
          <ac:chgData name="Esseling, Alexander" userId="06e650f9-49f4-4e88-ae32-1515f4b3177f" providerId="ADAL" clId="{2922BEF1-1194-4013-B92A-F250A174F6DC}" dt="2021-01-08T14:57:54.156" v="2888" actId="1076"/>
          <ac:picMkLst>
            <pc:docMk/>
            <pc:sldMk cId="2475805559" sldId="257"/>
            <ac:picMk id="16" creationId="{45BBB071-BE15-4861-A9BD-6D5DD0E0CC64}"/>
          </ac:picMkLst>
        </pc:picChg>
        <pc:picChg chg="add del mod">
          <ac:chgData name="Esseling, Alexander" userId="06e650f9-49f4-4e88-ae32-1515f4b3177f" providerId="ADAL" clId="{2922BEF1-1194-4013-B92A-F250A174F6DC}" dt="2021-01-08T14:57:50.174" v="2886"/>
          <ac:picMkLst>
            <pc:docMk/>
            <pc:sldMk cId="2475805559" sldId="257"/>
            <ac:picMk id="1026" creationId="{1822512C-DAEB-442C-9D35-9697A4EBAC5F}"/>
          </ac:picMkLst>
        </pc:picChg>
        <pc:picChg chg="add mod">
          <ac:chgData name="Esseling, Alexander" userId="06e650f9-49f4-4e88-ae32-1515f4b3177f" providerId="ADAL" clId="{2922BEF1-1194-4013-B92A-F250A174F6DC}" dt="2021-01-08T14:59:34.782" v="2907" actId="1076"/>
          <ac:picMkLst>
            <pc:docMk/>
            <pc:sldMk cId="2475805559" sldId="257"/>
            <ac:picMk id="1028" creationId="{9A005088-9D73-4B3C-A32E-C05D21713FAD}"/>
          </ac:picMkLst>
        </pc:picChg>
      </pc:sldChg>
      <pc:sldChg chg="del">
        <pc:chgData name="Esseling, Alexander" userId="06e650f9-49f4-4e88-ae32-1515f4b3177f" providerId="ADAL" clId="{2922BEF1-1194-4013-B92A-F250A174F6DC}" dt="2021-01-08T08:52:37.431" v="2068" actId="2696"/>
        <pc:sldMkLst>
          <pc:docMk/>
          <pc:sldMk cId="263784652" sldId="258"/>
        </pc:sldMkLst>
      </pc:sldChg>
      <pc:sldChg chg="addSp delSp modSp">
        <pc:chgData name="Esseling, Alexander" userId="06e650f9-49f4-4e88-ae32-1515f4b3177f" providerId="ADAL" clId="{2922BEF1-1194-4013-B92A-F250A174F6DC}" dt="2021-01-08T17:07:30.056" v="3672" actId="27636"/>
        <pc:sldMkLst>
          <pc:docMk/>
          <pc:sldMk cId="485570874" sldId="259"/>
        </pc:sldMkLst>
        <pc:spChg chg="del">
          <ac:chgData name="Esseling, Alexander" userId="06e650f9-49f4-4e88-ae32-1515f4b3177f" providerId="ADAL" clId="{2922BEF1-1194-4013-B92A-F250A174F6DC}" dt="2021-01-08T09:09:58.849" v="2071" actId="478"/>
          <ac:spMkLst>
            <pc:docMk/>
            <pc:sldMk cId="485570874" sldId="259"/>
            <ac:spMk id="7" creationId="{7CEB60D2-3CC2-4F68-BC96-F65522D4BF01}"/>
          </ac:spMkLst>
        </pc:spChg>
        <pc:spChg chg="add mod">
          <ac:chgData name="Esseling, Alexander" userId="06e650f9-49f4-4e88-ae32-1515f4b3177f" providerId="ADAL" clId="{2922BEF1-1194-4013-B92A-F250A174F6DC}" dt="2021-01-08T17:07:30.056" v="3672" actId="27636"/>
          <ac:spMkLst>
            <pc:docMk/>
            <pc:sldMk cId="485570874" sldId="259"/>
            <ac:spMk id="8" creationId="{90A9F86A-B12B-4FFD-AB4C-BC78AE4D7866}"/>
          </ac:spMkLst>
        </pc:spChg>
        <pc:spChg chg="add del mod">
          <ac:chgData name="Esseling, Alexander" userId="06e650f9-49f4-4e88-ae32-1515f4b3177f" providerId="ADAL" clId="{2922BEF1-1194-4013-B92A-F250A174F6DC}" dt="2021-01-08T09:10:02.456" v="2073" actId="478"/>
          <ac:spMkLst>
            <pc:docMk/>
            <pc:sldMk cId="485570874" sldId="259"/>
            <ac:spMk id="10" creationId="{B395FC8B-14B5-4291-9CD2-25C195CBF2F9}"/>
          </ac:spMkLst>
        </pc:spChg>
        <pc:spChg chg="add mod">
          <ac:chgData name="Esseling, Alexander" userId="06e650f9-49f4-4e88-ae32-1515f4b3177f" providerId="ADAL" clId="{2922BEF1-1194-4013-B92A-F250A174F6DC}" dt="2021-01-08T09:10:07.921" v="2090" actId="20577"/>
          <ac:spMkLst>
            <pc:docMk/>
            <pc:sldMk cId="485570874" sldId="259"/>
            <ac:spMk id="11" creationId="{97F96668-9C4D-4D15-8FD2-8DC6CEC85875}"/>
          </ac:spMkLst>
        </pc:spChg>
      </pc:sldChg>
      <pc:sldChg chg="addSp modSp">
        <pc:chgData name="Esseling, Alexander" userId="06e650f9-49f4-4e88-ae32-1515f4b3177f" providerId="ADAL" clId="{2922BEF1-1194-4013-B92A-F250A174F6DC}" dt="2021-01-08T17:08:16.241" v="3715" actId="20577"/>
        <pc:sldMkLst>
          <pc:docMk/>
          <pc:sldMk cId="3688946964" sldId="260"/>
        </pc:sldMkLst>
        <pc:graphicFrameChg chg="add mod modGraphic">
          <ac:chgData name="Esseling, Alexander" userId="06e650f9-49f4-4e88-ae32-1515f4b3177f" providerId="ADAL" clId="{2922BEF1-1194-4013-B92A-F250A174F6DC}" dt="2021-01-08T17:08:16.241" v="3715" actId="20577"/>
          <ac:graphicFrameMkLst>
            <pc:docMk/>
            <pc:sldMk cId="3688946964" sldId="260"/>
            <ac:graphicFrameMk id="3" creationId="{1CD6F20B-CC12-4746-9DA7-9D543F73605B}"/>
          </ac:graphicFrameMkLst>
        </pc:graphicFrameChg>
      </pc:sldChg>
      <pc:sldChg chg="addSp modSp">
        <pc:chgData name="Esseling, Alexander" userId="06e650f9-49f4-4e88-ae32-1515f4b3177f" providerId="ADAL" clId="{2922BEF1-1194-4013-B92A-F250A174F6DC}" dt="2021-01-08T17:08:50.576" v="3735" actId="20577"/>
        <pc:sldMkLst>
          <pc:docMk/>
          <pc:sldMk cId="3604165314" sldId="261"/>
        </pc:sldMkLst>
        <pc:graphicFrameChg chg="add modGraphic">
          <ac:chgData name="Esseling, Alexander" userId="06e650f9-49f4-4e88-ae32-1515f4b3177f" providerId="ADAL" clId="{2922BEF1-1194-4013-B92A-F250A174F6DC}" dt="2021-01-08T17:08:50.576" v="3735" actId="20577"/>
          <ac:graphicFrameMkLst>
            <pc:docMk/>
            <pc:sldMk cId="3604165314" sldId="261"/>
            <ac:graphicFrameMk id="3" creationId="{F9667B74-DB1C-4486-9AFD-6B628F759D02}"/>
          </ac:graphicFrameMkLst>
        </pc:graphicFrameChg>
      </pc:sldChg>
      <pc:sldChg chg="addSp delSp modSp">
        <pc:chgData name="Esseling, Alexander" userId="06e650f9-49f4-4e88-ae32-1515f4b3177f" providerId="ADAL" clId="{2922BEF1-1194-4013-B92A-F250A174F6DC}" dt="2021-01-08T16:51:13.305" v="3652" actId="20577"/>
        <pc:sldMkLst>
          <pc:docMk/>
          <pc:sldMk cId="2628735441" sldId="262"/>
        </pc:sldMkLst>
        <pc:spChg chg="mod">
          <ac:chgData name="Esseling, Alexander" userId="06e650f9-49f4-4e88-ae32-1515f4b3177f" providerId="ADAL" clId="{2922BEF1-1194-4013-B92A-F250A174F6DC}" dt="2021-01-08T16:43:43.601" v="3264" actId="947"/>
          <ac:spMkLst>
            <pc:docMk/>
            <pc:sldMk cId="2628735441" sldId="262"/>
            <ac:spMk id="83" creationId="{BC8432D5-073A-475E-9260-AFB97E680D51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84" creationId="{688EDD7B-F330-44A3-82C8-756AFD4EBEA5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85" creationId="{424D6F06-E76E-4EEF-B33C-4114280A86A6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86" creationId="{16BEEDF9-738E-4E1A-AD53-2A5751B0717F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87" creationId="{3666F14A-4A17-474A-8E6A-F7AA94E8EE7F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88" creationId="{E0737AA0-2030-4384-AC31-FDF9A5BE507F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89" creationId="{8F345D83-D38C-4269-8EF3-7F24DE081EA2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90" creationId="{D6C02960-4AE1-4336-AF85-EBEB5CB5CB13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91" creationId="{5F830E7F-45E2-42EC-997B-D239B8A913FE}"/>
          </ac:spMkLst>
        </pc:spChg>
        <pc:spChg chg="mod topLvl">
          <ac:chgData name="Esseling, Alexander" userId="06e650f9-49f4-4e88-ae32-1515f4b3177f" providerId="ADAL" clId="{2922BEF1-1194-4013-B92A-F250A174F6DC}" dt="2021-01-08T16:51:09.264" v="3468"/>
          <ac:spMkLst>
            <pc:docMk/>
            <pc:sldMk cId="2628735441" sldId="262"/>
            <ac:spMk id="92" creationId="{1D8BDEDA-5BFE-413E-9C2A-40DDCF00461E}"/>
          </ac:spMkLst>
        </pc:spChg>
        <pc:spChg chg="mod topLvl">
          <ac:chgData name="Esseling, Alexander" userId="06e650f9-49f4-4e88-ae32-1515f4b3177f" providerId="ADAL" clId="{2922BEF1-1194-4013-B92A-F250A174F6DC}" dt="2021-01-08T16:51:09.267" v="3472"/>
          <ac:spMkLst>
            <pc:docMk/>
            <pc:sldMk cId="2628735441" sldId="262"/>
            <ac:spMk id="93" creationId="{7C2D6014-6C83-4C1A-AE40-0927BD276F49}"/>
          </ac:spMkLst>
        </pc:spChg>
        <pc:spChg chg="mod topLvl">
          <ac:chgData name="Esseling, Alexander" userId="06e650f9-49f4-4e88-ae32-1515f4b3177f" providerId="ADAL" clId="{2922BEF1-1194-4013-B92A-F250A174F6DC}" dt="2021-01-08T16:51:09.269" v="3476"/>
          <ac:spMkLst>
            <pc:docMk/>
            <pc:sldMk cId="2628735441" sldId="262"/>
            <ac:spMk id="94" creationId="{BBEA49E3-5129-4607-8EF3-1AF9F7F7035A}"/>
          </ac:spMkLst>
        </pc:spChg>
        <pc:spChg chg="mod topLvl">
          <ac:chgData name="Esseling, Alexander" userId="06e650f9-49f4-4e88-ae32-1515f4b3177f" providerId="ADAL" clId="{2922BEF1-1194-4013-B92A-F250A174F6DC}" dt="2021-01-08T16:51:09.271" v="3480"/>
          <ac:spMkLst>
            <pc:docMk/>
            <pc:sldMk cId="2628735441" sldId="262"/>
            <ac:spMk id="95" creationId="{5A6EFF17-426D-4CA0-8F37-A7749763B959}"/>
          </ac:spMkLst>
        </pc:spChg>
        <pc:spChg chg="mod topLvl">
          <ac:chgData name="Esseling, Alexander" userId="06e650f9-49f4-4e88-ae32-1515f4b3177f" providerId="ADAL" clId="{2922BEF1-1194-4013-B92A-F250A174F6DC}" dt="2021-01-08T16:51:09.276" v="3484"/>
          <ac:spMkLst>
            <pc:docMk/>
            <pc:sldMk cId="2628735441" sldId="262"/>
            <ac:spMk id="96" creationId="{46C1AEA9-51B1-49B8-A192-93B37FFCB5BF}"/>
          </ac:spMkLst>
        </pc:spChg>
        <pc:spChg chg="mod topLvl">
          <ac:chgData name="Esseling, Alexander" userId="06e650f9-49f4-4e88-ae32-1515f4b3177f" providerId="ADAL" clId="{2922BEF1-1194-4013-B92A-F250A174F6DC}" dt="2021-01-08T16:51:09.279" v="3488"/>
          <ac:spMkLst>
            <pc:docMk/>
            <pc:sldMk cId="2628735441" sldId="262"/>
            <ac:spMk id="97" creationId="{F0ED3A72-D10D-467A-B9B0-13178A868D6C}"/>
          </ac:spMkLst>
        </pc:spChg>
        <pc:spChg chg="mod topLvl">
          <ac:chgData name="Esseling, Alexander" userId="06e650f9-49f4-4e88-ae32-1515f4b3177f" providerId="ADAL" clId="{2922BEF1-1194-4013-B92A-F250A174F6DC}" dt="2021-01-08T16:51:09.282" v="3492"/>
          <ac:spMkLst>
            <pc:docMk/>
            <pc:sldMk cId="2628735441" sldId="262"/>
            <ac:spMk id="98" creationId="{92AEBEE2-017D-4323-A518-5CBA1C603085}"/>
          </ac:spMkLst>
        </pc:spChg>
        <pc:spChg chg="mod topLvl">
          <ac:chgData name="Esseling, Alexander" userId="06e650f9-49f4-4e88-ae32-1515f4b3177f" providerId="ADAL" clId="{2922BEF1-1194-4013-B92A-F250A174F6DC}" dt="2021-01-08T16:51:09.299" v="3520"/>
          <ac:spMkLst>
            <pc:docMk/>
            <pc:sldMk cId="2628735441" sldId="262"/>
            <ac:spMk id="99" creationId="{62062D57-53FC-4306-B037-7094B3B34728}"/>
          </ac:spMkLst>
        </pc:spChg>
        <pc:spChg chg="mod topLvl">
          <ac:chgData name="Esseling, Alexander" userId="06e650f9-49f4-4e88-ae32-1515f4b3177f" providerId="ADAL" clId="{2922BEF1-1194-4013-B92A-F250A174F6DC}" dt="2021-01-08T16:51:09.300" v="3524"/>
          <ac:spMkLst>
            <pc:docMk/>
            <pc:sldMk cId="2628735441" sldId="262"/>
            <ac:spMk id="100" creationId="{877E3E62-113E-4E5B-8A43-AF1A12D122D0}"/>
          </ac:spMkLst>
        </pc:spChg>
        <pc:spChg chg="mod topLvl">
          <ac:chgData name="Esseling, Alexander" userId="06e650f9-49f4-4e88-ae32-1515f4b3177f" providerId="ADAL" clId="{2922BEF1-1194-4013-B92A-F250A174F6DC}" dt="2021-01-08T16:51:09.302" v="3528"/>
          <ac:spMkLst>
            <pc:docMk/>
            <pc:sldMk cId="2628735441" sldId="262"/>
            <ac:spMk id="101" creationId="{6B921DE2-6674-4F7E-AA55-C301F8A48696}"/>
          </ac:spMkLst>
        </pc:spChg>
        <pc:spChg chg="mod topLvl">
          <ac:chgData name="Esseling, Alexander" userId="06e650f9-49f4-4e88-ae32-1515f4b3177f" providerId="ADAL" clId="{2922BEF1-1194-4013-B92A-F250A174F6DC}" dt="2021-01-08T16:51:09.304" v="3532"/>
          <ac:spMkLst>
            <pc:docMk/>
            <pc:sldMk cId="2628735441" sldId="262"/>
            <ac:spMk id="102" creationId="{8B51BA9E-1235-40C7-9151-50E76FD772CF}"/>
          </ac:spMkLst>
        </pc:spChg>
        <pc:spChg chg="mod topLvl">
          <ac:chgData name="Esseling, Alexander" userId="06e650f9-49f4-4e88-ae32-1515f4b3177f" providerId="ADAL" clId="{2922BEF1-1194-4013-B92A-F250A174F6DC}" dt="2021-01-08T16:51:09.310" v="3544"/>
          <ac:spMkLst>
            <pc:docMk/>
            <pc:sldMk cId="2628735441" sldId="262"/>
            <ac:spMk id="103" creationId="{D112B41A-480E-4753-BEA4-50B4DF591708}"/>
          </ac:spMkLst>
        </pc:spChg>
        <pc:spChg chg="mod topLvl">
          <ac:chgData name="Esseling, Alexander" userId="06e650f9-49f4-4e88-ae32-1515f4b3177f" providerId="ADAL" clId="{2922BEF1-1194-4013-B92A-F250A174F6DC}" dt="2021-01-08T16:51:09.312" v="3548"/>
          <ac:spMkLst>
            <pc:docMk/>
            <pc:sldMk cId="2628735441" sldId="262"/>
            <ac:spMk id="104" creationId="{4E207037-9A6D-4215-B472-CC909A6BDABF}"/>
          </ac:spMkLst>
        </pc:spChg>
        <pc:spChg chg="mod topLvl">
          <ac:chgData name="Esseling, Alexander" userId="06e650f9-49f4-4e88-ae32-1515f4b3177f" providerId="ADAL" clId="{2922BEF1-1194-4013-B92A-F250A174F6DC}" dt="2021-01-08T16:51:09.315" v="3552"/>
          <ac:spMkLst>
            <pc:docMk/>
            <pc:sldMk cId="2628735441" sldId="262"/>
            <ac:spMk id="105" creationId="{967E3341-B51B-4F1F-964D-F39D704BE6D6}"/>
          </ac:spMkLst>
        </pc:spChg>
        <pc:spChg chg="mod topLvl">
          <ac:chgData name="Esseling, Alexander" userId="06e650f9-49f4-4e88-ae32-1515f4b3177f" providerId="ADAL" clId="{2922BEF1-1194-4013-B92A-F250A174F6DC}" dt="2021-01-08T16:51:09.318" v="3556"/>
          <ac:spMkLst>
            <pc:docMk/>
            <pc:sldMk cId="2628735441" sldId="262"/>
            <ac:spMk id="106" creationId="{910229A8-B98A-4109-BF1F-98112DF5F7B9}"/>
          </ac:spMkLst>
        </pc:spChg>
        <pc:spChg chg="mod topLvl">
          <ac:chgData name="Esseling, Alexander" userId="06e650f9-49f4-4e88-ae32-1515f4b3177f" providerId="ADAL" clId="{2922BEF1-1194-4013-B92A-F250A174F6DC}" dt="2021-01-08T16:51:09.320" v="3560"/>
          <ac:spMkLst>
            <pc:docMk/>
            <pc:sldMk cId="2628735441" sldId="262"/>
            <ac:spMk id="107" creationId="{C492F079-AD37-44B4-8888-B0EA0D735910}"/>
          </ac:spMkLst>
        </pc:spChg>
        <pc:spChg chg="mod topLvl">
          <ac:chgData name="Esseling, Alexander" userId="06e650f9-49f4-4e88-ae32-1515f4b3177f" providerId="ADAL" clId="{2922BEF1-1194-4013-B92A-F250A174F6DC}" dt="2021-01-08T16:51:09.322" v="3564"/>
          <ac:spMkLst>
            <pc:docMk/>
            <pc:sldMk cId="2628735441" sldId="262"/>
            <ac:spMk id="108" creationId="{D063D6B3-D71E-41FD-8CA7-36DF2FA2E3CA}"/>
          </ac:spMkLst>
        </pc:spChg>
        <pc:spChg chg="mod topLvl">
          <ac:chgData name="Esseling, Alexander" userId="06e650f9-49f4-4e88-ae32-1515f4b3177f" providerId="ADAL" clId="{2922BEF1-1194-4013-B92A-F250A174F6DC}" dt="2021-01-08T16:51:09.324" v="3568"/>
          <ac:spMkLst>
            <pc:docMk/>
            <pc:sldMk cId="2628735441" sldId="262"/>
            <ac:spMk id="109" creationId="{33D0E143-CD9B-491D-A189-C35AEBA4C7C9}"/>
          </ac:spMkLst>
        </pc:spChg>
        <pc:spChg chg="mod topLvl">
          <ac:chgData name="Esseling, Alexander" userId="06e650f9-49f4-4e88-ae32-1515f4b3177f" providerId="ADAL" clId="{2922BEF1-1194-4013-B92A-F250A174F6DC}" dt="2021-01-08T16:51:09.326" v="3572"/>
          <ac:spMkLst>
            <pc:docMk/>
            <pc:sldMk cId="2628735441" sldId="262"/>
            <ac:spMk id="110" creationId="{837B1AE5-885F-45FE-A3E3-708A7B481961}"/>
          </ac:spMkLst>
        </pc:spChg>
        <pc:spChg chg="mod topLvl">
          <ac:chgData name="Esseling, Alexander" userId="06e650f9-49f4-4e88-ae32-1515f4b3177f" providerId="ADAL" clId="{2922BEF1-1194-4013-B92A-F250A174F6DC}" dt="2021-01-08T16:51:09.329" v="3576"/>
          <ac:spMkLst>
            <pc:docMk/>
            <pc:sldMk cId="2628735441" sldId="262"/>
            <ac:spMk id="111" creationId="{90DCBEB6-1C87-44FF-A8C2-EEE9F3768BB2}"/>
          </ac:spMkLst>
        </pc:spChg>
        <pc:spChg chg="mod topLvl">
          <ac:chgData name="Esseling, Alexander" userId="06e650f9-49f4-4e88-ae32-1515f4b3177f" providerId="ADAL" clId="{2922BEF1-1194-4013-B92A-F250A174F6DC}" dt="2021-01-08T16:51:09.332" v="3580"/>
          <ac:spMkLst>
            <pc:docMk/>
            <pc:sldMk cId="2628735441" sldId="262"/>
            <ac:spMk id="112" creationId="{C3106131-94FC-46E6-9847-4336790B069F}"/>
          </ac:spMkLst>
        </pc:spChg>
        <pc:spChg chg="mod topLvl">
          <ac:chgData name="Esseling, Alexander" userId="06e650f9-49f4-4e88-ae32-1515f4b3177f" providerId="ADAL" clId="{2922BEF1-1194-4013-B92A-F250A174F6DC}" dt="2021-01-08T16:51:09.334" v="3584"/>
          <ac:spMkLst>
            <pc:docMk/>
            <pc:sldMk cId="2628735441" sldId="262"/>
            <ac:spMk id="113" creationId="{102F2B0E-3178-48CF-976F-A72C9D24BBF5}"/>
          </ac:spMkLst>
        </pc:spChg>
        <pc:spChg chg="mod topLvl">
          <ac:chgData name="Esseling, Alexander" userId="06e650f9-49f4-4e88-ae32-1515f4b3177f" providerId="ADAL" clId="{2922BEF1-1194-4013-B92A-F250A174F6DC}" dt="2021-01-08T16:51:09.337" v="3588"/>
          <ac:spMkLst>
            <pc:docMk/>
            <pc:sldMk cId="2628735441" sldId="262"/>
            <ac:spMk id="114" creationId="{687DF83D-465F-46EF-852C-C02E3DA615BB}"/>
          </ac:spMkLst>
        </pc:spChg>
        <pc:spChg chg="mod topLvl">
          <ac:chgData name="Esseling, Alexander" userId="06e650f9-49f4-4e88-ae32-1515f4b3177f" providerId="ADAL" clId="{2922BEF1-1194-4013-B92A-F250A174F6DC}" dt="2021-01-08T16:51:09.339" v="3592"/>
          <ac:spMkLst>
            <pc:docMk/>
            <pc:sldMk cId="2628735441" sldId="262"/>
            <ac:spMk id="115" creationId="{AC909551-F940-41F9-953E-01C92C9B2156}"/>
          </ac:spMkLst>
        </pc:spChg>
        <pc:spChg chg="mod topLvl">
          <ac:chgData name="Esseling, Alexander" userId="06e650f9-49f4-4e88-ae32-1515f4b3177f" providerId="ADAL" clId="{2922BEF1-1194-4013-B92A-F250A174F6DC}" dt="2021-01-08T16:51:09.341" v="3596"/>
          <ac:spMkLst>
            <pc:docMk/>
            <pc:sldMk cId="2628735441" sldId="262"/>
            <ac:spMk id="116" creationId="{009AAF65-D138-4761-A5A3-F219FB4C2131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17" creationId="{29C8A7E0-DA86-43D2-9090-09CAAFEE1668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18" creationId="{F690E0BB-6444-416F-BDCE-30274F12CB94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19" creationId="{35337BA4-27DC-45CF-BB42-4A1BEC2C03DC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0" creationId="{9365215F-5EA8-4B8D-A95D-B9669CA5F5C7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1" creationId="{C4173349-B5E7-4332-A297-C6AB86CF0D20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2" creationId="{430AE793-92C1-4C9E-9977-3FAA4FFBD82A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3" creationId="{C833ED9A-B278-4A68-A837-7821E6504565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4" creationId="{8C3DC895-5336-4BDA-8F62-6AB6C9668D10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5" creationId="{1D4C3B4E-BC42-464F-B5E3-34E77A9E9F6C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6" creationId="{2581ACB6-2354-44FA-A8AB-05902CD99D85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7" creationId="{609A7284-28D3-4F6B-B5E2-72D139E5B195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8" creationId="{C530A484-3EEA-4D76-8090-2323EFB23C6F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29" creationId="{74FBA123-CEC7-4DEA-A415-CC015E9DD7BA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30" creationId="{430CBD2D-209D-432D-9DE3-B132673DDCA6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31" creationId="{99C926A7-EA50-4FCA-8510-AD873A040595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32" creationId="{1DCC7B95-AE32-4AFE-9F59-7AE24F7C0D6E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33" creationId="{2DBF2280-0DE0-4DFD-85B3-CD092DE5FE2C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34" creationId="{D98B990E-4FF8-4280-AF07-043F542EDCA2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35" creationId="{969FB49A-9E02-42E3-AD33-7218E34B7671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36" creationId="{C773F430-F51D-4A0F-9ED9-CAF6E6FE3F8E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37" creationId="{031EC7A3-86FA-447E-AB04-EDC2DC51D860}"/>
          </ac:spMkLst>
        </pc:spChg>
        <pc:spChg chg="mod topLvl">
          <ac:chgData name="Esseling, Alexander" userId="06e650f9-49f4-4e88-ae32-1515f4b3177f" providerId="ADAL" clId="{2922BEF1-1194-4013-B92A-F250A174F6DC}" dt="2021-01-08T16:43:34.045" v="3242" actId="947"/>
          <ac:spMkLst>
            <pc:docMk/>
            <pc:sldMk cId="2628735441" sldId="262"/>
            <ac:spMk id="159" creationId="{6152F321-F87A-44BD-928C-9D6AF2D940EA}"/>
          </ac:spMkLst>
        </pc:spChg>
        <pc:spChg chg="mod topLvl">
          <ac:chgData name="Esseling, Alexander" userId="06e650f9-49f4-4e88-ae32-1515f4b3177f" providerId="ADAL" clId="{2922BEF1-1194-4013-B92A-F250A174F6DC}" dt="2021-01-08T16:51:09.373" v="3647" actId="20577"/>
          <ac:spMkLst>
            <pc:docMk/>
            <pc:sldMk cId="2628735441" sldId="262"/>
            <ac:spMk id="160" creationId="{DE901CE9-C0DA-4C9B-944D-4A81FDE460BB}"/>
          </ac:spMkLst>
        </pc:spChg>
        <pc:spChg chg="mod topLvl">
          <ac:chgData name="Esseling, Alexander" userId="06e650f9-49f4-4e88-ae32-1515f4b3177f" providerId="ADAL" clId="{2922BEF1-1194-4013-B92A-F250A174F6DC}" dt="2021-01-08T16:51:13.305" v="3652" actId="20577"/>
          <ac:spMkLst>
            <pc:docMk/>
            <pc:sldMk cId="2628735441" sldId="262"/>
            <ac:spMk id="161" creationId="{84B2E7F9-E7DA-4CFA-BC77-C53811B3B5C5}"/>
          </ac:spMkLst>
        </pc:spChg>
        <pc:spChg chg="mod topLvl">
          <ac:chgData name="Esseling, Alexander" userId="06e650f9-49f4-4e88-ae32-1515f4b3177f" providerId="ADAL" clId="{2922BEF1-1194-4013-B92A-F250A174F6DC}" dt="2021-01-08T16:43:34.064" v="3245" actId="947"/>
          <ac:spMkLst>
            <pc:docMk/>
            <pc:sldMk cId="2628735441" sldId="262"/>
            <ac:spMk id="162" creationId="{0CD5D1C0-1E23-432F-82A7-8B8D5E238F78}"/>
          </ac:spMkLst>
        </pc:spChg>
        <pc:spChg chg="mod topLvl">
          <ac:chgData name="Esseling, Alexander" userId="06e650f9-49f4-4e88-ae32-1515f4b3177f" providerId="ADAL" clId="{2922BEF1-1194-4013-B92A-F250A174F6DC}" dt="2021-01-08T16:43:34.066" v="3246" actId="947"/>
          <ac:spMkLst>
            <pc:docMk/>
            <pc:sldMk cId="2628735441" sldId="262"/>
            <ac:spMk id="163" creationId="{1DD0BD1B-D894-4E22-950A-2F7A8BBA2E92}"/>
          </ac:spMkLst>
        </pc:spChg>
        <pc:spChg chg="mod topLvl">
          <ac:chgData name="Esseling, Alexander" userId="06e650f9-49f4-4e88-ae32-1515f4b3177f" providerId="ADAL" clId="{2922BEF1-1194-4013-B92A-F250A174F6DC}" dt="2021-01-08T16:43:34.068" v="3247" actId="947"/>
          <ac:spMkLst>
            <pc:docMk/>
            <pc:sldMk cId="2628735441" sldId="262"/>
            <ac:spMk id="164" creationId="{26467B60-2CB9-4CB5-9C2B-2678CB3357BC}"/>
          </ac:spMkLst>
        </pc:spChg>
        <pc:spChg chg="mod topLvl">
          <ac:chgData name="Esseling, Alexander" userId="06e650f9-49f4-4e88-ae32-1515f4b3177f" providerId="ADAL" clId="{2922BEF1-1194-4013-B92A-F250A174F6DC}" dt="2021-01-08T16:43:34.070" v="3248" actId="947"/>
          <ac:spMkLst>
            <pc:docMk/>
            <pc:sldMk cId="2628735441" sldId="262"/>
            <ac:spMk id="165" creationId="{83024E91-4655-4D06-AEC2-2B9FB91823A2}"/>
          </ac:spMkLst>
        </pc:spChg>
        <pc:spChg chg="mod topLvl">
          <ac:chgData name="Esseling, Alexander" userId="06e650f9-49f4-4e88-ae32-1515f4b3177f" providerId="ADAL" clId="{2922BEF1-1194-4013-B92A-F250A174F6DC}" dt="2021-01-08T16:43:34.072" v="3249" actId="947"/>
          <ac:spMkLst>
            <pc:docMk/>
            <pc:sldMk cId="2628735441" sldId="262"/>
            <ac:spMk id="166" creationId="{CAEC7E0F-F14B-42B0-B747-3160D6F452A6}"/>
          </ac:spMkLst>
        </pc:spChg>
        <pc:spChg chg="mod topLvl">
          <ac:chgData name="Esseling, Alexander" userId="06e650f9-49f4-4e88-ae32-1515f4b3177f" providerId="ADAL" clId="{2922BEF1-1194-4013-B92A-F250A174F6DC}" dt="2021-01-08T16:43:34.074" v="3250" actId="947"/>
          <ac:spMkLst>
            <pc:docMk/>
            <pc:sldMk cId="2628735441" sldId="262"/>
            <ac:spMk id="167" creationId="{E3A718A3-C758-4573-95C2-E0E6FB774694}"/>
          </ac:spMkLst>
        </pc:spChg>
        <pc:spChg chg="mod topLvl">
          <ac:chgData name="Esseling, Alexander" userId="06e650f9-49f4-4e88-ae32-1515f4b3177f" providerId="ADAL" clId="{2922BEF1-1194-4013-B92A-F250A174F6DC}" dt="2021-01-08T16:43:34.075" v="3251" actId="947"/>
          <ac:spMkLst>
            <pc:docMk/>
            <pc:sldMk cId="2628735441" sldId="262"/>
            <ac:spMk id="168" creationId="{DAF25794-5792-4B68-BBE3-F7EEAE7DF9F6}"/>
          </ac:spMkLst>
        </pc:spChg>
        <pc:spChg chg="mod topLvl">
          <ac:chgData name="Esseling, Alexander" userId="06e650f9-49f4-4e88-ae32-1515f4b3177f" providerId="ADAL" clId="{2922BEF1-1194-4013-B92A-F250A174F6DC}" dt="2021-01-08T16:43:34.079" v="3252" actId="947"/>
          <ac:spMkLst>
            <pc:docMk/>
            <pc:sldMk cId="2628735441" sldId="262"/>
            <ac:spMk id="169" creationId="{3D6B3A4F-59FF-4045-8AAC-2F1AA9A6259B}"/>
          </ac:spMkLst>
        </pc:spChg>
        <pc:spChg chg="mod topLvl">
          <ac:chgData name="Esseling, Alexander" userId="06e650f9-49f4-4e88-ae32-1515f4b3177f" providerId="ADAL" clId="{2922BEF1-1194-4013-B92A-F250A174F6DC}" dt="2021-01-08T16:43:34.081" v="3253" actId="947"/>
          <ac:spMkLst>
            <pc:docMk/>
            <pc:sldMk cId="2628735441" sldId="262"/>
            <ac:spMk id="170" creationId="{A231BD65-69C8-49C3-A78D-8AED49FEA9C3}"/>
          </ac:spMkLst>
        </pc:spChg>
        <pc:spChg chg="mod topLvl">
          <ac:chgData name="Esseling, Alexander" userId="06e650f9-49f4-4e88-ae32-1515f4b3177f" providerId="ADAL" clId="{2922BEF1-1194-4013-B92A-F250A174F6DC}" dt="2021-01-08T16:43:34.083" v="3254" actId="947"/>
          <ac:spMkLst>
            <pc:docMk/>
            <pc:sldMk cId="2628735441" sldId="262"/>
            <ac:spMk id="171" creationId="{9ED6D92A-B9A6-4AD4-A4F9-4B50867A2D25}"/>
          </ac:spMkLst>
        </pc:spChg>
        <pc:spChg chg="mod topLvl">
          <ac:chgData name="Esseling, Alexander" userId="06e650f9-49f4-4e88-ae32-1515f4b3177f" providerId="ADAL" clId="{2922BEF1-1194-4013-B92A-F250A174F6DC}" dt="2021-01-08T16:43:34.085" v="3255" actId="947"/>
          <ac:spMkLst>
            <pc:docMk/>
            <pc:sldMk cId="2628735441" sldId="262"/>
            <ac:spMk id="172" creationId="{A0D8DB36-F324-48A8-8D4C-24B79B7626D1}"/>
          </ac:spMkLst>
        </pc:spChg>
        <pc:spChg chg="mod topLvl">
          <ac:chgData name="Esseling, Alexander" userId="06e650f9-49f4-4e88-ae32-1515f4b3177f" providerId="ADAL" clId="{2922BEF1-1194-4013-B92A-F250A174F6DC}" dt="2021-01-08T16:43:34.086" v="3256" actId="947"/>
          <ac:spMkLst>
            <pc:docMk/>
            <pc:sldMk cId="2628735441" sldId="262"/>
            <ac:spMk id="173" creationId="{3B892592-143D-4134-A4A3-EDD3876E2970}"/>
          </ac:spMkLst>
        </pc:spChg>
        <pc:spChg chg="mod topLvl">
          <ac:chgData name="Esseling, Alexander" userId="06e650f9-49f4-4e88-ae32-1515f4b3177f" providerId="ADAL" clId="{2922BEF1-1194-4013-B92A-F250A174F6DC}" dt="2021-01-08T16:43:34.089" v="3257" actId="947"/>
          <ac:spMkLst>
            <pc:docMk/>
            <pc:sldMk cId="2628735441" sldId="262"/>
            <ac:spMk id="174" creationId="{59C2152F-0A11-4A1C-A08A-60A2B37D754D}"/>
          </ac:spMkLst>
        </pc:spChg>
        <pc:spChg chg="mod topLvl">
          <ac:chgData name="Esseling, Alexander" userId="06e650f9-49f4-4e88-ae32-1515f4b3177f" providerId="ADAL" clId="{2922BEF1-1194-4013-B92A-F250A174F6DC}" dt="2021-01-08T16:43:34.090" v="3258" actId="947"/>
          <ac:spMkLst>
            <pc:docMk/>
            <pc:sldMk cId="2628735441" sldId="262"/>
            <ac:spMk id="175" creationId="{51AECD33-F67A-40DE-AC9D-F5FF718F5BEF}"/>
          </ac:spMkLst>
        </pc:spChg>
        <pc:spChg chg="mod topLvl">
          <ac:chgData name="Esseling, Alexander" userId="06e650f9-49f4-4e88-ae32-1515f4b3177f" providerId="ADAL" clId="{2922BEF1-1194-4013-B92A-F250A174F6DC}" dt="2021-01-08T16:43:34.123" v="3259" actId="947"/>
          <ac:spMkLst>
            <pc:docMk/>
            <pc:sldMk cId="2628735441" sldId="262"/>
            <ac:spMk id="176" creationId="{4112179B-732B-40AF-B68B-D1ED39EFABCF}"/>
          </ac:spMkLst>
        </pc:spChg>
        <pc:spChg chg="mod topLvl">
          <ac:chgData name="Esseling, Alexander" userId="06e650f9-49f4-4e88-ae32-1515f4b3177f" providerId="ADAL" clId="{2922BEF1-1194-4013-B92A-F250A174F6DC}" dt="2021-01-08T16:43:34.124" v="3260" actId="947"/>
          <ac:spMkLst>
            <pc:docMk/>
            <pc:sldMk cId="2628735441" sldId="262"/>
            <ac:spMk id="177" creationId="{F9150BE2-2556-47D2-B80E-5951AA8FC5C3}"/>
          </ac:spMkLst>
        </pc:spChg>
        <pc:spChg chg="mod topLvl">
          <ac:chgData name="Esseling, Alexander" userId="06e650f9-49f4-4e88-ae32-1515f4b3177f" providerId="ADAL" clId="{2922BEF1-1194-4013-B92A-F250A174F6DC}" dt="2021-01-08T16:43:34.132" v="3261" actId="947"/>
          <ac:spMkLst>
            <pc:docMk/>
            <pc:sldMk cId="2628735441" sldId="262"/>
            <ac:spMk id="178" creationId="{8344DF1D-87B7-47CD-848A-5CA7420D2A54}"/>
          </ac:spMkLst>
        </pc:spChg>
        <pc:spChg chg="mod topLvl">
          <ac:chgData name="Esseling, Alexander" userId="06e650f9-49f4-4e88-ae32-1515f4b3177f" providerId="ADAL" clId="{2922BEF1-1194-4013-B92A-F250A174F6DC}" dt="2021-01-08T16:43:34.132" v="3262" actId="947"/>
          <ac:spMkLst>
            <pc:docMk/>
            <pc:sldMk cId="2628735441" sldId="262"/>
            <ac:spMk id="179" creationId="{55012403-4781-4686-8746-7ACB6983A94F}"/>
          </ac:spMkLst>
        </pc:spChg>
        <pc:spChg chg="mod topLvl">
          <ac:chgData name="Esseling, Alexander" userId="06e650f9-49f4-4e88-ae32-1515f4b3177f" providerId="ADAL" clId="{2922BEF1-1194-4013-B92A-F250A174F6DC}" dt="2021-01-08T08:50:34.207" v="1330"/>
          <ac:spMkLst>
            <pc:docMk/>
            <pc:sldMk cId="2628735441" sldId="262"/>
            <ac:spMk id="181" creationId="{A1C2EE2A-F5B5-4E99-B0F2-42C819DE28E2}"/>
          </ac:spMkLst>
        </pc:spChg>
        <pc:spChg chg="del mod topLvl">
          <ac:chgData name="Esseling, Alexander" userId="06e650f9-49f4-4e88-ae32-1515f4b3177f" providerId="ADAL" clId="{2922BEF1-1194-4013-B92A-F250A174F6DC}" dt="2021-01-08T08:50:34.210" v="1332"/>
          <ac:spMkLst>
            <pc:docMk/>
            <pc:sldMk cId="2628735441" sldId="262"/>
            <ac:spMk id="183" creationId="{2799A772-D1C5-43EB-B271-833606D98E06}"/>
          </ac:spMkLst>
        </pc:spChg>
        <pc:spChg chg="del mod topLvl">
          <ac:chgData name="Esseling, Alexander" userId="06e650f9-49f4-4e88-ae32-1515f4b3177f" providerId="ADAL" clId="{2922BEF1-1194-4013-B92A-F250A174F6DC}" dt="2021-01-08T08:50:34.211" v="1334"/>
          <ac:spMkLst>
            <pc:docMk/>
            <pc:sldMk cId="2628735441" sldId="262"/>
            <ac:spMk id="184" creationId="{7BD0D92A-AB99-44CE-B025-0F2B2D6BD28D}"/>
          </ac:spMkLst>
        </pc:spChg>
        <pc:spChg chg="del mod topLvl">
          <ac:chgData name="Esseling, Alexander" userId="06e650f9-49f4-4e88-ae32-1515f4b3177f" providerId="ADAL" clId="{2922BEF1-1194-4013-B92A-F250A174F6DC}" dt="2021-01-08T08:50:34.213" v="1336"/>
          <ac:spMkLst>
            <pc:docMk/>
            <pc:sldMk cId="2628735441" sldId="262"/>
            <ac:spMk id="185" creationId="{2E554F16-45F1-4988-8E3D-3074E7BA8941}"/>
          </ac:spMkLst>
        </pc:spChg>
        <pc:spChg chg="del mod topLvl">
          <ac:chgData name="Esseling, Alexander" userId="06e650f9-49f4-4e88-ae32-1515f4b3177f" providerId="ADAL" clId="{2922BEF1-1194-4013-B92A-F250A174F6DC}" dt="2021-01-08T08:50:34.214" v="1338"/>
          <ac:spMkLst>
            <pc:docMk/>
            <pc:sldMk cId="2628735441" sldId="262"/>
            <ac:spMk id="186" creationId="{62296D8F-29B8-4F7C-8947-3F062B67EA06}"/>
          </ac:spMkLst>
        </pc:spChg>
        <pc:spChg chg="del mod topLvl">
          <ac:chgData name="Esseling, Alexander" userId="06e650f9-49f4-4e88-ae32-1515f4b3177f" providerId="ADAL" clId="{2922BEF1-1194-4013-B92A-F250A174F6DC}" dt="2021-01-08T08:50:34.216" v="1340"/>
          <ac:spMkLst>
            <pc:docMk/>
            <pc:sldMk cId="2628735441" sldId="262"/>
            <ac:spMk id="187" creationId="{1BFD6481-86D6-484E-8E62-30EA15E2AF58}"/>
          </ac:spMkLst>
        </pc:spChg>
        <pc:spChg chg="del mod topLvl">
          <ac:chgData name="Esseling, Alexander" userId="06e650f9-49f4-4e88-ae32-1515f4b3177f" providerId="ADAL" clId="{2922BEF1-1194-4013-B92A-F250A174F6DC}" dt="2021-01-08T08:50:34.217" v="1342"/>
          <ac:spMkLst>
            <pc:docMk/>
            <pc:sldMk cId="2628735441" sldId="262"/>
            <ac:spMk id="188" creationId="{1D176DBC-8964-481D-A626-60E26A7E7583}"/>
          </ac:spMkLst>
        </pc:spChg>
        <pc:spChg chg="del mod topLvl">
          <ac:chgData name="Esseling, Alexander" userId="06e650f9-49f4-4e88-ae32-1515f4b3177f" providerId="ADAL" clId="{2922BEF1-1194-4013-B92A-F250A174F6DC}" dt="2021-01-08T08:50:34.218" v="1344"/>
          <ac:spMkLst>
            <pc:docMk/>
            <pc:sldMk cId="2628735441" sldId="262"/>
            <ac:spMk id="189" creationId="{C6395F59-940E-4125-961C-5BFD4AC32397}"/>
          </ac:spMkLst>
        </pc:spChg>
        <pc:spChg chg="del mod topLvl">
          <ac:chgData name="Esseling, Alexander" userId="06e650f9-49f4-4e88-ae32-1515f4b3177f" providerId="ADAL" clId="{2922BEF1-1194-4013-B92A-F250A174F6DC}" dt="2021-01-08T08:50:34.220" v="1346"/>
          <ac:spMkLst>
            <pc:docMk/>
            <pc:sldMk cId="2628735441" sldId="262"/>
            <ac:spMk id="190" creationId="{A2D5A916-4651-4A8D-A5C7-BEF46E7314F9}"/>
          </ac:spMkLst>
        </pc:spChg>
        <pc:spChg chg="del mod topLvl">
          <ac:chgData name="Esseling, Alexander" userId="06e650f9-49f4-4e88-ae32-1515f4b3177f" providerId="ADAL" clId="{2922BEF1-1194-4013-B92A-F250A174F6DC}" dt="2021-01-08T08:50:34.222" v="1348"/>
          <ac:spMkLst>
            <pc:docMk/>
            <pc:sldMk cId="2628735441" sldId="262"/>
            <ac:spMk id="191" creationId="{155DB671-B7ED-47D7-900B-655774D4B186}"/>
          </ac:spMkLst>
        </pc:spChg>
        <pc:spChg chg="del mod topLvl">
          <ac:chgData name="Esseling, Alexander" userId="06e650f9-49f4-4e88-ae32-1515f4b3177f" providerId="ADAL" clId="{2922BEF1-1194-4013-B92A-F250A174F6DC}" dt="2021-01-08T08:50:34.223" v="1350"/>
          <ac:spMkLst>
            <pc:docMk/>
            <pc:sldMk cId="2628735441" sldId="262"/>
            <ac:spMk id="192" creationId="{E50264C4-A6B0-4EAD-A5D5-93E379B05C3A}"/>
          </ac:spMkLst>
        </pc:spChg>
        <pc:spChg chg="del mod topLvl">
          <ac:chgData name="Esseling, Alexander" userId="06e650f9-49f4-4e88-ae32-1515f4b3177f" providerId="ADAL" clId="{2922BEF1-1194-4013-B92A-F250A174F6DC}" dt="2021-01-08T08:50:34.225" v="1352"/>
          <ac:spMkLst>
            <pc:docMk/>
            <pc:sldMk cId="2628735441" sldId="262"/>
            <ac:spMk id="193" creationId="{8AAA5009-0FDA-41D3-8BD0-776A822689D4}"/>
          </ac:spMkLst>
        </pc:spChg>
        <pc:spChg chg="del mod topLvl">
          <ac:chgData name="Esseling, Alexander" userId="06e650f9-49f4-4e88-ae32-1515f4b3177f" providerId="ADAL" clId="{2922BEF1-1194-4013-B92A-F250A174F6DC}" dt="2021-01-08T08:50:34.226" v="1354"/>
          <ac:spMkLst>
            <pc:docMk/>
            <pc:sldMk cId="2628735441" sldId="262"/>
            <ac:spMk id="194" creationId="{E60B514D-9723-48BB-8891-AFC771DCDD2E}"/>
          </ac:spMkLst>
        </pc:spChg>
        <pc:spChg chg="del mod topLvl">
          <ac:chgData name="Esseling, Alexander" userId="06e650f9-49f4-4e88-ae32-1515f4b3177f" providerId="ADAL" clId="{2922BEF1-1194-4013-B92A-F250A174F6DC}" dt="2021-01-08T08:50:34.227" v="1356"/>
          <ac:spMkLst>
            <pc:docMk/>
            <pc:sldMk cId="2628735441" sldId="262"/>
            <ac:spMk id="195" creationId="{8344AFC9-9D3D-4025-83C2-A776F458FE47}"/>
          </ac:spMkLst>
        </pc:spChg>
        <pc:spChg chg="del mod topLvl">
          <ac:chgData name="Esseling, Alexander" userId="06e650f9-49f4-4e88-ae32-1515f4b3177f" providerId="ADAL" clId="{2922BEF1-1194-4013-B92A-F250A174F6DC}" dt="2021-01-08T08:50:34.229" v="1358"/>
          <ac:spMkLst>
            <pc:docMk/>
            <pc:sldMk cId="2628735441" sldId="262"/>
            <ac:spMk id="196" creationId="{B4966993-2BC3-4FB7-B3BC-08C4CA653595}"/>
          </ac:spMkLst>
        </pc:spChg>
        <pc:spChg chg="del mod topLvl">
          <ac:chgData name="Esseling, Alexander" userId="06e650f9-49f4-4e88-ae32-1515f4b3177f" providerId="ADAL" clId="{2922BEF1-1194-4013-B92A-F250A174F6DC}" dt="2021-01-08T08:50:34.231" v="1360"/>
          <ac:spMkLst>
            <pc:docMk/>
            <pc:sldMk cId="2628735441" sldId="262"/>
            <ac:spMk id="197" creationId="{A350C5B6-B77A-448F-8393-DAEEBAE88D9F}"/>
          </ac:spMkLst>
        </pc:spChg>
        <pc:spChg chg="del mod topLvl">
          <ac:chgData name="Esseling, Alexander" userId="06e650f9-49f4-4e88-ae32-1515f4b3177f" providerId="ADAL" clId="{2922BEF1-1194-4013-B92A-F250A174F6DC}" dt="2021-01-08T08:50:34.232" v="1362"/>
          <ac:spMkLst>
            <pc:docMk/>
            <pc:sldMk cId="2628735441" sldId="262"/>
            <ac:spMk id="198" creationId="{EF6256B2-9947-4989-B76F-A1F84D8D347B}"/>
          </ac:spMkLst>
        </pc:spChg>
        <pc:spChg chg="del mod topLvl">
          <ac:chgData name="Esseling, Alexander" userId="06e650f9-49f4-4e88-ae32-1515f4b3177f" providerId="ADAL" clId="{2922BEF1-1194-4013-B92A-F250A174F6DC}" dt="2021-01-08T08:50:34.233" v="1364"/>
          <ac:spMkLst>
            <pc:docMk/>
            <pc:sldMk cId="2628735441" sldId="262"/>
            <ac:spMk id="199" creationId="{C5BFE165-C4D5-47FF-B2FE-70F3EFC6195B}"/>
          </ac:spMkLst>
        </pc:spChg>
        <pc:spChg chg="del mod topLvl">
          <ac:chgData name="Esseling, Alexander" userId="06e650f9-49f4-4e88-ae32-1515f4b3177f" providerId="ADAL" clId="{2922BEF1-1194-4013-B92A-F250A174F6DC}" dt="2021-01-08T08:50:34.235" v="1366"/>
          <ac:spMkLst>
            <pc:docMk/>
            <pc:sldMk cId="2628735441" sldId="262"/>
            <ac:spMk id="200" creationId="{9DA3D634-CB34-4127-90B9-1C3BBE5BD254}"/>
          </ac:spMkLst>
        </pc:spChg>
        <pc:spChg chg="del mod topLvl">
          <ac:chgData name="Esseling, Alexander" userId="06e650f9-49f4-4e88-ae32-1515f4b3177f" providerId="ADAL" clId="{2922BEF1-1194-4013-B92A-F250A174F6DC}" dt="2021-01-08T08:50:34.236" v="1368"/>
          <ac:spMkLst>
            <pc:docMk/>
            <pc:sldMk cId="2628735441" sldId="262"/>
            <ac:spMk id="201" creationId="{15FFDF5A-4C34-44E1-9479-25297632022B}"/>
          </ac:spMkLst>
        </pc:spChg>
        <pc:spChg chg="del mod topLvl">
          <ac:chgData name="Esseling, Alexander" userId="06e650f9-49f4-4e88-ae32-1515f4b3177f" providerId="ADAL" clId="{2922BEF1-1194-4013-B92A-F250A174F6DC}" dt="2021-01-08T08:50:34.238" v="1370"/>
          <ac:spMkLst>
            <pc:docMk/>
            <pc:sldMk cId="2628735441" sldId="262"/>
            <ac:spMk id="202" creationId="{C507F445-3C5F-414D-AB96-C434DB77D217}"/>
          </ac:spMkLst>
        </pc:spChg>
        <pc:spChg chg="add mod ord">
          <ac:chgData name="Esseling, Alexander" userId="06e650f9-49f4-4e88-ae32-1515f4b3177f" providerId="ADAL" clId="{2922BEF1-1194-4013-B92A-F250A174F6DC}" dt="2021-01-08T16:51:09.285" v="3496"/>
          <ac:spMkLst>
            <pc:docMk/>
            <pc:sldMk cId="2628735441" sldId="262"/>
            <ac:spMk id="204" creationId="{2D229047-4798-4595-9328-1A376FB4798F}"/>
          </ac:spMkLst>
        </pc:spChg>
        <pc:spChg chg="add mod ord">
          <ac:chgData name="Esseling, Alexander" userId="06e650f9-49f4-4e88-ae32-1515f4b3177f" providerId="ADAL" clId="{2922BEF1-1194-4013-B92A-F250A174F6DC}" dt="2021-01-08T16:51:09.287" v="3500"/>
          <ac:spMkLst>
            <pc:docMk/>
            <pc:sldMk cId="2628735441" sldId="262"/>
            <ac:spMk id="205" creationId="{2CE8D1ED-5211-4010-916E-35BB2DAC0895}"/>
          </ac:spMkLst>
        </pc:spChg>
        <pc:spChg chg="add mod ord">
          <ac:chgData name="Esseling, Alexander" userId="06e650f9-49f4-4e88-ae32-1515f4b3177f" providerId="ADAL" clId="{2922BEF1-1194-4013-B92A-F250A174F6DC}" dt="2021-01-08T16:51:09.290" v="3504"/>
          <ac:spMkLst>
            <pc:docMk/>
            <pc:sldMk cId="2628735441" sldId="262"/>
            <ac:spMk id="206" creationId="{39FFC967-AB56-458A-A209-2079685F86D8}"/>
          </ac:spMkLst>
        </pc:spChg>
        <pc:spChg chg="add mod ord">
          <ac:chgData name="Esseling, Alexander" userId="06e650f9-49f4-4e88-ae32-1515f4b3177f" providerId="ADAL" clId="{2922BEF1-1194-4013-B92A-F250A174F6DC}" dt="2021-01-08T16:51:09.293" v="3508"/>
          <ac:spMkLst>
            <pc:docMk/>
            <pc:sldMk cId="2628735441" sldId="262"/>
            <ac:spMk id="207" creationId="{8869FBAB-FD3E-4AEA-A011-6EF06EE67D7B}"/>
          </ac:spMkLst>
        </pc:spChg>
        <pc:spChg chg="add mod ord">
          <ac:chgData name="Esseling, Alexander" userId="06e650f9-49f4-4e88-ae32-1515f4b3177f" providerId="ADAL" clId="{2922BEF1-1194-4013-B92A-F250A174F6DC}" dt="2021-01-08T16:51:09.296" v="3512"/>
          <ac:spMkLst>
            <pc:docMk/>
            <pc:sldMk cId="2628735441" sldId="262"/>
            <ac:spMk id="208" creationId="{8F7A5EF0-2ADC-4918-9C66-E9D7F7B9EA2A}"/>
          </ac:spMkLst>
        </pc:spChg>
        <pc:spChg chg="add mod ord">
          <ac:chgData name="Esseling, Alexander" userId="06e650f9-49f4-4e88-ae32-1515f4b3177f" providerId="ADAL" clId="{2922BEF1-1194-4013-B92A-F250A174F6DC}" dt="2021-01-08T16:51:09.297" v="3516"/>
          <ac:spMkLst>
            <pc:docMk/>
            <pc:sldMk cId="2628735441" sldId="262"/>
            <ac:spMk id="209" creationId="{77D43BAB-25EC-420E-B502-E16C83CB5DE2}"/>
          </ac:spMkLst>
        </pc:spChg>
        <pc:spChg chg="add mod ord">
          <ac:chgData name="Esseling, Alexander" userId="06e650f9-49f4-4e88-ae32-1515f4b3177f" providerId="ADAL" clId="{2922BEF1-1194-4013-B92A-F250A174F6DC}" dt="2021-01-08T16:51:09.306" v="3536"/>
          <ac:spMkLst>
            <pc:docMk/>
            <pc:sldMk cId="2628735441" sldId="262"/>
            <ac:spMk id="210" creationId="{50B5854C-BDD1-44BA-ADC0-F020242FFAB7}"/>
          </ac:spMkLst>
        </pc:spChg>
        <pc:spChg chg="add mod ord">
          <ac:chgData name="Esseling, Alexander" userId="06e650f9-49f4-4e88-ae32-1515f4b3177f" providerId="ADAL" clId="{2922BEF1-1194-4013-B92A-F250A174F6DC}" dt="2021-01-08T16:51:09.308" v="3540"/>
          <ac:spMkLst>
            <pc:docMk/>
            <pc:sldMk cId="2628735441" sldId="262"/>
            <ac:spMk id="211" creationId="{F0EDE04C-6D41-4EFE-B034-82C2E13F3E4E}"/>
          </ac:spMkLst>
        </pc:spChg>
        <pc:spChg chg="add mod ord">
          <ac:chgData name="Esseling, Alexander" userId="06e650f9-49f4-4e88-ae32-1515f4b3177f" providerId="ADAL" clId="{2922BEF1-1194-4013-B92A-F250A174F6DC}" dt="2021-01-08T16:51:09.344" v="3600"/>
          <ac:spMkLst>
            <pc:docMk/>
            <pc:sldMk cId="2628735441" sldId="262"/>
            <ac:spMk id="212" creationId="{FB62B584-F0D0-471A-8E6B-CDA9EA3E9C9F}"/>
          </ac:spMkLst>
        </pc:spChg>
        <pc:spChg chg="add mod ord">
          <ac:chgData name="Esseling, Alexander" userId="06e650f9-49f4-4e88-ae32-1515f4b3177f" providerId="ADAL" clId="{2922BEF1-1194-4013-B92A-F250A174F6DC}" dt="2021-01-08T16:51:09.346" v="3604"/>
          <ac:spMkLst>
            <pc:docMk/>
            <pc:sldMk cId="2628735441" sldId="262"/>
            <ac:spMk id="213" creationId="{4BB0D153-0E32-4D8A-8B18-EDF92B484DF4}"/>
          </ac:spMkLst>
        </pc:spChg>
        <pc:spChg chg="add mod ord">
          <ac:chgData name="Esseling, Alexander" userId="06e650f9-49f4-4e88-ae32-1515f4b3177f" providerId="ADAL" clId="{2922BEF1-1194-4013-B92A-F250A174F6DC}" dt="2021-01-08T16:51:09.350" v="3608"/>
          <ac:spMkLst>
            <pc:docMk/>
            <pc:sldMk cId="2628735441" sldId="262"/>
            <ac:spMk id="214" creationId="{913F6030-36F0-431F-A574-366BDAE230F5}"/>
          </ac:spMkLst>
        </pc:spChg>
        <pc:spChg chg="add mod ord">
          <ac:chgData name="Esseling, Alexander" userId="06e650f9-49f4-4e88-ae32-1515f4b3177f" providerId="ADAL" clId="{2922BEF1-1194-4013-B92A-F250A174F6DC}" dt="2021-01-08T16:51:09.352" v="3612"/>
          <ac:spMkLst>
            <pc:docMk/>
            <pc:sldMk cId="2628735441" sldId="262"/>
            <ac:spMk id="215" creationId="{BBA08D06-521E-4B2F-94E0-B583725A4A68}"/>
          </ac:spMkLst>
        </pc:spChg>
        <pc:spChg chg="add mod ord">
          <ac:chgData name="Esseling, Alexander" userId="06e650f9-49f4-4e88-ae32-1515f4b3177f" providerId="ADAL" clId="{2922BEF1-1194-4013-B92A-F250A174F6DC}" dt="2021-01-08T16:51:09.354" v="3616"/>
          <ac:spMkLst>
            <pc:docMk/>
            <pc:sldMk cId="2628735441" sldId="262"/>
            <ac:spMk id="216" creationId="{9C6016BE-1CAA-401F-8C1E-B4CC8BDC8CB0}"/>
          </ac:spMkLst>
        </pc:spChg>
        <pc:spChg chg="add mod ord">
          <ac:chgData name="Esseling, Alexander" userId="06e650f9-49f4-4e88-ae32-1515f4b3177f" providerId="ADAL" clId="{2922BEF1-1194-4013-B92A-F250A174F6DC}" dt="2021-01-08T16:51:09.356" v="3620"/>
          <ac:spMkLst>
            <pc:docMk/>
            <pc:sldMk cId="2628735441" sldId="262"/>
            <ac:spMk id="217" creationId="{481D1E02-ABAC-4BD0-98B2-8D3D17354B65}"/>
          </ac:spMkLst>
        </pc:spChg>
        <pc:spChg chg="add mod ord">
          <ac:chgData name="Esseling, Alexander" userId="06e650f9-49f4-4e88-ae32-1515f4b3177f" providerId="ADAL" clId="{2922BEF1-1194-4013-B92A-F250A174F6DC}" dt="2021-01-08T16:51:09.359" v="3624"/>
          <ac:spMkLst>
            <pc:docMk/>
            <pc:sldMk cId="2628735441" sldId="262"/>
            <ac:spMk id="218" creationId="{E0BCEBAA-59A4-4BB2-B7D2-14729AB60540}"/>
          </ac:spMkLst>
        </pc:spChg>
        <pc:spChg chg="add mod ord">
          <ac:chgData name="Esseling, Alexander" userId="06e650f9-49f4-4e88-ae32-1515f4b3177f" providerId="ADAL" clId="{2922BEF1-1194-4013-B92A-F250A174F6DC}" dt="2021-01-08T16:51:09.361" v="3628"/>
          <ac:spMkLst>
            <pc:docMk/>
            <pc:sldMk cId="2628735441" sldId="262"/>
            <ac:spMk id="219" creationId="{36F40C89-CB2D-404B-89BD-C1FC430294DF}"/>
          </ac:spMkLst>
        </pc:spChg>
        <pc:spChg chg="add mod ord">
          <ac:chgData name="Esseling, Alexander" userId="06e650f9-49f4-4e88-ae32-1515f4b3177f" providerId="ADAL" clId="{2922BEF1-1194-4013-B92A-F250A174F6DC}" dt="2021-01-08T16:51:09.362" v="3632"/>
          <ac:spMkLst>
            <pc:docMk/>
            <pc:sldMk cId="2628735441" sldId="262"/>
            <ac:spMk id="220" creationId="{75776B51-76BA-4B99-B3D7-6DA42B2ABF2D}"/>
          </ac:spMkLst>
        </pc:spChg>
        <pc:spChg chg="add mod ord">
          <ac:chgData name="Esseling, Alexander" userId="06e650f9-49f4-4e88-ae32-1515f4b3177f" providerId="ADAL" clId="{2922BEF1-1194-4013-B92A-F250A174F6DC}" dt="2021-01-08T16:51:09.364" v="3636"/>
          <ac:spMkLst>
            <pc:docMk/>
            <pc:sldMk cId="2628735441" sldId="262"/>
            <ac:spMk id="221" creationId="{4CF0D70F-9A3C-4C1D-9076-5BD094E7B965}"/>
          </ac:spMkLst>
        </pc:spChg>
        <pc:spChg chg="add mod ord">
          <ac:chgData name="Esseling, Alexander" userId="06e650f9-49f4-4e88-ae32-1515f4b3177f" providerId="ADAL" clId="{2922BEF1-1194-4013-B92A-F250A174F6DC}" dt="2021-01-08T16:51:09.367" v="3640"/>
          <ac:spMkLst>
            <pc:docMk/>
            <pc:sldMk cId="2628735441" sldId="262"/>
            <ac:spMk id="222" creationId="{D80D1D80-1772-4151-AA20-51B3191988F0}"/>
          </ac:spMkLst>
        </pc:spChg>
        <pc:spChg chg="add mod ord">
          <ac:chgData name="Esseling, Alexander" userId="06e650f9-49f4-4e88-ae32-1515f4b3177f" providerId="ADAL" clId="{2922BEF1-1194-4013-B92A-F250A174F6DC}" dt="2021-01-08T16:51:09.369" v="3644"/>
          <ac:spMkLst>
            <pc:docMk/>
            <pc:sldMk cId="2628735441" sldId="262"/>
            <ac:spMk id="223" creationId="{543B3F39-06EB-4292-9E81-664F5D7ABC98}"/>
          </ac:spMkLst>
        </pc:spChg>
        <pc:grpChg chg="del">
          <ac:chgData name="Esseling, Alexander" userId="06e650f9-49f4-4e88-ae32-1515f4b3177f" providerId="ADAL" clId="{2922BEF1-1194-4013-B92A-F250A174F6DC}" dt="2021-01-08T08:50:34.196" v="1329"/>
          <ac:grpSpMkLst>
            <pc:docMk/>
            <pc:sldMk cId="2628735441" sldId="262"/>
            <ac:grpSpMk id="203" creationId="{D1463D7A-C452-4474-B56F-E15E974871C0}"/>
          </ac:grpSpMkLst>
        </pc:grpChg>
        <pc:grpChg chg="add mod">
          <ac:chgData name="Esseling, Alexander" userId="06e650f9-49f4-4e88-ae32-1515f4b3177f" providerId="ADAL" clId="{2922BEF1-1194-4013-B92A-F250A174F6DC}" dt="2021-01-08T16:51:13.303" v="3651"/>
          <ac:grpSpMkLst>
            <pc:docMk/>
            <pc:sldMk cId="2628735441" sldId="262"/>
            <ac:grpSpMk id="224" creationId="{28048CAC-42FC-440C-BC07-B1DCA6409F24}"/>
          </ac:grpSpMkLst>
        </pc:grp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38" creationId="{975EC164-2861-4AFF-9AC4-1EE333A3DE79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39" creationId="{43C061AC-FA16-4A18-9634-5F8685F235E4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0" creationId="{B1D6F1AB-233A-4FF2-ACC2-29828F22C7D8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1" creationId="{2B72BED6-F19A-4F5F-B903-9308658881F1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2" creationId="{93C81F5C-792B-458C-AC37-089170EA6D94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3" creationId="{1B508A34-683D-4307-AAC9-FD2ECFBEA37A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4" creationId="{B2A1B47E-3E4F-49D3-9A5B-94678A614D6D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5" creationId="{50D98EEA-3F23-4EDE-96D5-3283CA1DCE87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6" creationId="{DACD1C92-B4E0-4ACB-B561-8EAEF99EBCB7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7" creationId="{4C47280D-7077-4712-968B-28B7121CF22A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8" creationId="{755C822F-7E09-4A3B-83BC-37E33CF5DCAD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49" creationId="{51F58E83-FBE1-4549-8B94-ACE07F217B43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0" creationId="{030844E5-4EE7-4A95-9B5A-0F4491C55BEA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1" creationId="{582BFE29-4CBA-431A-81FD-0A9EDACB104F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2" creationId="{CBA033A2-E168-4791-9C4B-5D11A9C0D258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3" creationId="{CF33709F-EB3E-4C1D-AF25-30FA86A1F482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4" creationId="{7CA93379-7B61-4FD3-86E6-B98BA4D3496F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5" creationId="{328FCB08-70E9-4913-9919-3F0E2CBC8D4A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6" creationId="{DB804AD7-BAED-429C-8B46-CF39EFB65A0F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7" creationId="{BBC727F6-FC97-4CB6-9C9D-8547347CC9BD}"/>
          </ac:cxnSpMkLst>
        </pc:cxnChg>
        <pc:cxnChg chg="mod topLvl">
          <ac:chgData name="Esseling, Alexander" userId="06e650f9-49f4-4e88-ae32-1515f4b3177f" providerId="ADAL" clId="{2922BEF1-1194-4013-B92A-F250A174F6DC}" dt="2021-01-08T08:50:34.207" v="1330"/>
          <ac:cxnSpMkLst>
            <pc:docMk/>
            <pc:sldMk cId="2628735441" sldId="262"/>
            <ac:cxnSpMk id="158" creationId="{A173BFC1-8A33-4398-81FC-41A17166DAC6}"/>
          </ac:cxnSpMkLst>
        </pc:cxnChg>
        <pc:cxnChg chg="mod topLvl">
          <ac:chgData name="Esseling, Alexander" userId="06e650f9-49f4-4e88-ae32-1515f4b3177f" providerId="ADAL" clId="{2922BEF1-1194-4013-B92A-F250A174F6DC}" dt="2021-01-08T16:51:09.376" v="3649"/>
          <ac:cxnSpMkLst>
            <pc:docMk/>
            <pc:sldMk cId="2628735441" sldId="262"/>
            <ac:cxnSpMk id="180" creationId="{E682F619-72BA-4CE7-B9AD-1EB389851D7F}"/>
          </ac:cxnSpMkLst>
        </pc:cxnChg>
      </pc:sldChg>
      <pc:sldChg chg="addSp delSp modSp add">
        <pc:chgData name="Esseling, Alexander" userId="06e650f9-49f4-4e88-ae32-1515f4b3177f" providerId="ADAL" clId="{2922BEF1-1194-4013-B92A-F250A174F6DC}" dt="2021-01-08T16:51:47.112" v="3658" actId="20577"/>
        <pc:sldMkLst>
          <pc:docMk/>
          <pc:sldMk cId="3422104601" sldId="263"/>
        </pc:sldMkLst>
        <pc:spChg chg="mod">
          <ac:chgData name="Esseling, Alexander" userId="06e650f9-49f4-4e88-ae32-1515f4b3177f" providerId="ADAL" clId="{2922BEF1-1194-4013-B92A-F250A174F6DC}" dt="2021-01-08T08:43:56.131" v="441" actId="20577"/>
          <ac:spMkLst>
            <pc:docMk/>
            <pc:sldMk cId="3422104601" sldId="263"/>
            <ac:spMk id="2" creationId="{7B305417-23E7-4A8C-8100-5965DB258C01}"/>
          </ac:spMkLst>
        </pc:spChg>
        <pc:spChg chg="add del mod">
          <ac:chgData name="Esseling, Alexander" userId="06e650f9-49f4-4e88-ae32-1515f4b3177f" providerId="ADAL" clId="{2922BEF1-1194-4013-B92A-F250A174F6DC}" dt="2021-01-08T08:49:53.327" v="776" actId="478"/>
          <ac:spMkLst>
            <pc:docMk/>
            <pc:sldMk cId="3422104601" sldId="263"/>
            <ac:spMk id="3" creationId="{A383699F-C12D-4518-BC69-71127DBA25E9}"/>
          </ac:spMkLst>
        </pc:spChg>
        <pc:spChg chg="add del mod">
          <ac:chgData name="Esseling, Alexander" userId="06e650f9-49f4-4e88-ae32-1515f4b3177f" providerId="ADAL" clId="{2922BEF1-1194-4013-B92A-F250A174F6DC}" dt="2021-01-08T08:45:04.983" v="484" actId="478"/>
          <ac:spMkLst>
            <pc:docMk/>
            <pc:sldMk cId="3422104601" sldId="263"/>
            <ac:spMk id="4" creationId="{403AF32E-6CEA-45C3-AFF0-9A8507113918}"/>
          </ac:spMkLst>
        </pc:spChg>
        <pc:spChg chg="add del mod">
          <ac:chgData name="Esseling, Alexander" userId="06e650f9-49f4-4e88-ae32-1515f4b3177f" providerId="ADAL" clId="{2922BEF1-1194-4013-B92A-F250A174F6DC}" dt="2021-01-08T08:45:22.076" v="492" actId="478"/>
          <ac:spMkLst>
            <pc:docMk/>
            <pc:sldMk cId="3422104601" sldId="263"/>
            <ac:spMk id="5" creationId="{C18F4C88-4FF7-48BF-9AA0-DF6F29BD62AB}"/>
          </ac:spMkLst>
        </pc:spChg>
        <pc:graphicFrameChg chg="add mod">
          <ac:chgData name="Esseling, Alexander" userId="06e650f9-49f4-4e88-ae32-1515f4b3177f" providerId="ADAL" clId="{2922BEF1-1194-4013-B92A-F250A174F6DC}" dt="2021-01-08T16:51:47.112" v="3658" actId="20577"/>
          <ac:graphicFrameMkLst>
            <pc:docMk/>
            <pc:sldMk cId="3422104601" sldId="263"/>
            <ac:graphicFrameMk id="6" creationId="{020B4FEE-120F-4A99-B9E1-81685676CC88}"/>
          </ac:graphicFrameMkLst>
        </pc:graphicFrameChg>
      </pc:sldChg>
      <pc:sldChg chg="addSp modSp add">
        <pc:chgData name="Esseling, Alexander" userId="06e650f9-49f4-4e88-ae32-1515f4b3177f" providerId="ADAL" clId="{2922BEF1-1194-4013-B92A-F250A174F6DC}" dt="2021-01-08T08:52:29.036" v="2067" actId="1076"/>
        <pc:sldMkLst>
          <pc:docMk/>
          <pc:sldMk cId="1256022554" sldId="264"/>
        </pc:sldMkLst>
        <pc:spChg chg="mod">
          <ac:chgData name="Esseling, Alexander" userId="06e650f9-49f4-4e88-ae32-1515f4b3177f" providerId="ADAL" clId="{2922BEF1-1194-4013-B92A-F250A174F6DC}" dt="2021-01-08T08:52:13.647" v="2043" actId="20577"/>
          <ac:spMkLst>
            <pc:docMk/>
            <pc:sldMk cId="1256022554" sldId="264"/>
            <ac:spMk id="2" creationId="{E8B92BE2-5C98-4C73-9526-B2987D57898D}"/>
          </ac:spMkLst>
        </pc:spChg>
        <pc:spChg chg="add mod">
          <ac:chgData name="Esseling, Alexander" userId="06e650f9-49f4-4e88-ae32-1515f4b3177f" providerId="ADAL" clId="{2922BEF1-1194-4013-B92A-F250A174F6DC}" dt="2021-01-08T08:52:29.036" v="2067" actId="1076"/>
          <ac:spMkLst>
            <pc:docMk/>
            <pc:sldMk cId="1256022554" sldId="264"/>
            <ac:spMk id="3" creationId="{865CC666-0C55-4B4E-A4B2-8AD08AD0FF22}"/>
          </ac:spMkLst>
        </pc:spChg>
      </pc:sldChg>
      <pc:sldChg chg="addSp delSp modSp add">
        <pc:chgData name="Esseling, Alexander" userId="06e650f9-49f4-4e88-ae32-1515f4b3177f" providerId="ADAL" clId="{2922BEF1-1194-4013-B92A-F250A174F6DC}" dt="2021-01-08T09:23:15.980" v="2865" actId="20577"/>
        <pc:sldMkLst>
          <pc:docMk/>
          <pc:sldMk cId="2535000211" sldId="265"/>
        </pc:sldMkLst>
        <pc:spChg chg="del mod">
          <ac:chgData name="Esseling, Alexander" userId="06e650f9-49f4-4e88-ae32-1515f4b3177f" providerId="ADAL" clId="{2922BEF1-1194-4013-B92A-F250A174F6DC}" dt="2021-01-08T09:22:49.339" v="2841" actId="478"/>
          <ac:spMkLst>
            <pc:docMk/>
            <pc:sldMk cId="2535000211" sldId="265"/>
            <ac:spMk id="2" creationId="{99744C06-B637-4E49-860E-44E05588E391}"/>
          </ac:spMkLst>
        </pc:spChg>
        <pc:spChg chg="add mod">
          <ac:chgData name="Esseling, Alexander" userId="06e650f9-49f4-4e88-ae32-1515f4b3177f" providerId="ADAL" clId="{2922BEF1-1194-4013-B92A-F250A174F6DC}" dt="2021-01-08T09:22:55.585" v="2846" actId="20577"/>
          <ac:spMkLst>
            <pc:docMk/>
            <pc:sldMk cId="2535000211" sldId="265"/>
            <ac:spMk id="3" creationId="{86D70F2F-0B75-421D-B5F9-98F2535492E5}"/>
          </ac:spMkLst>
        </pc:spChg>
        <pc:spChg chg="add del mod">
          <ac:chgData name="Esseling, Alexander" userId="06e650f9-49f4-4e88-ae32-1515f4b3177f" providerId="ADAL" clId="{2922BEF1-1194-4013-B92A-F250A174F6DC}" dt="2021-01-08T09:22:51.739" v="2843" actId="478"/>
          <ac:spMkLst>
            <pc:docMk/>
            <pc:sldMk cId="2535000211" sldId="265"/>
            <ac:spMk id="5" creationId="{27657F6D-9E5A-4B5B-8059-5F2347B18F03}"/>
          </ac:spMkLst>
        </pc:spChg>
        <pc:spChg chg="add mod">
          <ac:chgData name="Esseling, Alexander" userId="06e650f9-49f4-4e88-ae32-1515f4b3177f" providerId="ADAL" clId="{2922BEF1-1194-4013-B92A-F250A174F6DC}" dt="2021-01-08T09:23:15.980" v="2865" actId="20577"/>
          <ac:spMkLst>
            <pc:docMk/>
            <pc:sldMk cId="2535000211" sldId="265"/>
            <ac:spMk id="6" creationId="{C0BE1479-C6F5-416B-8766-1C75BDC38190}"/>
          </ac:spMkLst>
        </pc:spChg>
      </pc:sldChg>
      <pc:sldChg chg="add del">
        <pc:chgData name="Esseling, Alexander" userId="06e650f9-49f4-4e88-ae32-1515f4b3177f" providerId="ADAL" clId="{2922BEF1-1194-4013-B92A-F250A174F6DC}" dt="2021-01-08T15:01:44.641" v="2937" actId="2696"/>
        <pc:sldMkLst>
          <pc:docMk/>
          <pc:sldMk cId="2534460707" sldId="266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D1C48CC-83B3-4F93-907A-E29CFA391530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73CBC58-DFB3-4500-B702-D284A939864A}">
      <dgm:prSet phldrT="[Text]"/>
      <dgm:spPr/>
      <dgm:t>
        <a:bodyPr/>
        <a:lstStyle/>
        <a:p>
          <a:r>
            <a:rPr lang="en-US" dirty="0"/>
            <a:t>Patent infringement</a:t>
          </a:r>
        </a:p>
      </dgm:t>
    </dgm:pt>
    <dgm:pt modelId="{5B5CA91F-0707-4C89-A578-A7302CCD176C}" type="parTrans" cxnId="{131A1BC6-4D0E-469D-A7C4-24AB10021590}">
      <dgm:prSet/>
      <dgm:spPr/>
      <dgm:t>
        <a:bodyPr/>
        <a:lstStyle/>
        <a:p>
          <a:endParaRPr lang="en-US"/>
        </a:p>
      </dgm:t>
    </dgm:pt>
    <dgm:pt modelId="{EFBC3382-2D42-4A95-ADDB-33116036969F}" type="sibTrans" cxnId="{131A1BC6-4D0E-469D-A7C4-24AB10021590}">
      <dgm:prSet/>
      <dgm:spPr/>
      <dgm:t>
        <a:bodyPr/>
        <a:lstStyle/>
        <a:p>
          <a:endParaRPr lang="en-US"/>
        </a:p>
      </dgm:t>
    </dgm:pt>
    <dgm:pt modelId="{52CDA2B5-C520-48BB-A367-366D65CD21E6}">
      <dgm:prSet phldrT="[Text]"/>
      <dgm:spPr/>
      <dgm:t>
        <a:bodyPr/>
        <a:lstStyle/>
        <a:p>
          <a:r>
            <a:rPr lang="en-US" dirty="0"/>
            <a:t>Join OIN</a:t>
          </a:r>
        </a:p>
      </dgm:t>
    </dgm:pt>
    <dgm:pt modelId="{6E1FCDF0-F3B1-4E22-B8D8-BADDDF24795F}" type="parTrans" cxnId="{641EE928-1ECC-4086-A31A-68364F1F847F}">
      <dgm:prSet/>
      <dgm:spPr/>
      <dgm:t>
        <a:bodyPr/>
        <a:lstStyle/>
        <a:p>
          <a:endParaRPr lang="en-US"/>
        </a:p>
      </dgm:t>
    </dgm:pt>
    <dgm:pt modelId="{7C5624A9-4D2C-410F-B6F3-4844765E0202}" type="sibTrans" cxnId="{641EE928-1ECC-4086-A31A-68364F1F847F}">
      <dgm:prSet/>
      <dgm:spPr/>
      <dgm:t>
        <a:bodyPr/>
        <a:lstStyle/>
        <a:p>
          <a:endParaRPr lang="en-US"/>
        </a:p>
      </dgm:t>
    </dgm:pt>
    <dgm:pt modelId="{9D9E3EBA-777D-46B9-8CA9-48F5420493BE}">
      <dgm:prSet phldrT="[Text]"/>
      <dgm:spPr/>
      <dgm:t>
        <a:bodyPr/>
        <a:lstStyle/>
        <a:p>
          <a:r>
            <a:rPr lang="en-US" dirty="0"/>
            <a:t>Who can sign a license agreement?</a:t>
          </a:r>
        </a:p>
      </dgm:t>
    </dgm:pt>
    <dgm:pt modelId="{E9FA90A6-1150-4DFD-8C75-52EA92EA556C}" type="parTrans" cxnId="{7C58D3DB-49AB-4FB7-BB9C-6BF297394DB7}">
      <dgm:prSet/>
      <dgm:spPr/>
      <dgm:t>
        <a:bodyPr/>
        <a:lstStyle/>
        <a:p>
          <a:endParaRPr lang="en-US"/>
        </a:p>
      </dgm:t>
    </dgm:pt>
    <dgm:pt modelId="{E3E8EC47-60E3-4F70-B596-5B0B89B3F219}" type="sibTrans" cxnId="{7C58D3DB-49AB-4FB7-BB9C-6BF297394DB7}">
      <dgm:prSet/>
      <dgm:spPr/>
      <dgm:t>
        <a:bodyPr/>
        <a:lstStyle/>
        <a:p>
          <a:endParaRPr lang="en-US"/>
        </a:p>
      </dgm:t>
    </dgm:pt>
    <dgm:pt modelId="{8CB278F5-4E77-4BF4-9E35-A16A4204CF5F}">
      <dgm:prSet phldrT="[Text]"/>
      <dgm:spPr/>
      <dgm:t>
        <a:bodyPr/>
        <a:lstStyle/>
        <a:p>
          <a:r>
            <a:rPr lang="en-US" dirty="0"/>
            <a:t>Who ensures that Exiv2 will become part of the Linux system definition?</a:t>
          </a:r>
        </a:p>
      </dgm:t>
    </dgm:pt>
    <dgm:pt modelId="{39728903-347C-4A12-BA53-3C4A6785FD2E}" type="parTrans" cxnId="{2C4DE331-650E-4AD5-993E-5F8BB8E66C04}">
      <dgm:prSet/>
      <dgm:spPr/>
      <dgm:t>
        <a:bodyPr/>
        <a:lstStyle/>
        <a:p>
          <a:endParaRPr lang="en-US"/>
        </a:p>
      </dgm:t>
    </dgm:pt>
    <dgm:pt modelId="{22202D33-77D1-4D32-A298-E7CCD244EE88}" type="sibTrans" cxnId="{2C4DE331-650E-4AD5-993E-5F8BB8E66C04}">
      <dgm:prSet/>
      <dgm:spPr/>
      <dgm:t>
        <a:bodyPr/>
        <a:lstStyle/>
        <a:p>
          <a:endParaRPr lang="en-US"/>
        </a:p>
      </dgm:t>
    </dgm:pt>
    <dgm:pt modelId="{83F39A12-A3EE-46AF-A575-DE46A746E9A1}">
      <dgm:prSet phldrT="[Text]"/>
      <dgm:spPr/>
      <dgm:t>
        <a:bodyPr/>
        <a:lstStyle/>
        <a:p>
          <a:r>
            <a:rPr lang="en-US" dirty="0"/>
            <a:t>Forward responsibility to the user</a:t>
          </a:r>
        </a:p>
      </dgm:t>
    </dgm:pt>
    <dgm:pt modelId="{D3767705-D36D-4ED4-B7ED-520690ADB50E}" type="parTrans" cxnId="{3E1BA268-2972-4BC3-9722-B5EACE1D50CE}">
      <dgm:prSet/>
      <dgm:spPr/>
      <dgm:t>
        <a:bodyPr/>
        <a:lstStyle/>
        <a:p>
          <a:endParaRPr lang="en-US"/>
        </a:p>
      </dgm:t>
    </dgm:pt>
    <dgm:pt modelId="{B2E3DFD4-06CB-4D70-A4EF-EE1367DFA6D9}" type="sibTrans" cxnId="{3E1BA268-2972-4BC3-9722-B5EACE1D50CE}">
      <dgm:prSet/>
      <dgm:spPr/>
      <dgm:t>
        <a:bodyPr/>
        <a:lstStyle/>
        <a:p>
          <a:endParaRPr lang="en-US"/>
        </a:p>
      </dgm:t>
    </dgm:pt>
    <dgm:pt modelId="{D6BCBE23-B56A-473D-B037-A33A0F59F572}">
      <dgm:prSet phldrT="[Text]"/>
      <dgm:spPr/>
      <dgm:t>
        <a:bodyPr/>
        <a:lstStyle/>
        <a:p>
          <a:r>
            <a:rPr lang="en-US" dirty="0"/>
            <a:t>Adjust UI in darktable to enable specific format on user request</a:t>
          </a:r>
        </a:p>
      </dgm:t>
    </dgm:pt>
    <dgm:pt modelId="{4F7AEC30-D182-4C47-8B80-9C91BFEA4017}" type="parTrans" cxnId="{9CE5FC1F-1055-4C19-A7CD-469AF8D42FE4}">
      <dgm:prSet/>
      <dgm:spPr/>
      <dgm:t>
        <a:bodyPr/>
        <a:lstStyle/>
        <a:p>
          <a:endParaRPr lang="en-US"/>
        </a:p>
      </dgm:t>
    </dgm:pt>
    <dgm:pt modelId="{B2CB7B1C-5201-43B1-950F-4B278C362B5B}" type="sibTrans" cxnId="{9CE5FC1F-1055-4C19-A7CD-469AF8D42FE4}">
      <dgm:prSet/>
      <dgm:spPr/>
      <dgm:t>
        <a:bodyPr/>
        <a:lstStyle/>
        <a:p>
          <a:endParaRPr lang="en-US"/>
        </a:p>
      </dgm:t>
    </dgm:pt>
    <dgm:pt modelId="{FF7F1C55-2118-47E3-B9C3-4D50BD641F3A}">
      <dgm:prSet phldrT="[Text]"/>
      <dgm:spPr/>
      <dgm:t>
        <a:bodyPr/>
        <a:lstStyle/>
        <a:p>
          <a:r>
            <a:rPr lang="en-US" dirty="0"/>
            <a:t>Who maintains the license agreement?</a:t>
          </a:r>
        </a:p>
      </dgm:t>
    </dgm:pt>
    <dgm:pt modelId="{0045B862-2934-471C-97C2-E2FFEB67A99D}" type="parTrans" cxnId="{B79CEF85-EB45-4E70-9537-0E3FB02B5941}">
      <dgm:prSet/>
      <dgm:spPr/>
      <dgm:t>
        <a:bodyPr/>
        <a:lstStyle/>
        <a:p>
          <a:endParaRPr lang="en-US"/>
        </a:p>
      </dgm:t>
    </dgm:pt>
    <dgm:pt modelId="{1F9C9302-FC97-401E-82E9-4DE5DA137857}" type="sibTrans" cxnId="{B79CEF85-EB45-4E70-9537-0E3FB02B5941}">
      <dgm:prSet/>
      <dgm:spPr/>
      <dgm:t>
        <a:bodyPr/>
        <a:lstStyle/>
        <a:p>
          <a:endParaRPr lang="en-US"/>
        </a:p>
      </dgm:t>
    </dgm:pt>
    <dgm:pt modelId="{AE1A199E-7448-4CDE-ACEF-AF992354AABD}" type="pres">
      <dgm:prSet presAssocID="{7D1C48CC-83B3-4F93-907A-E29CFA391530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4DAF4A1-ACA0-4A4A-9DFF-3F5AFB77F103}" type="pres">
      <dgm:prSet presAssocID="{073CBC58-DFB3-4500-B702-D284A939864A}" presName="root1" presStyleCnt="0"/>
      <dgm:spPr/>
    </dgm:pt>
    <dgm:pt modelId="{168F223D-5A4F-4263-A5C8-E5E2514C313A}" type="pres">
      <dgm:prSet presAssocID="{073CBC58-DFB3-4500-B702-D284A939864A}" presName="LevelOneTextNode" presStyleLbl="node0" presStyleIdx="0" presStyleCnt="1">
        <dgm:presLayoutVars>
          <dgm:chPref val="3"/>
        </dgm:presLayoutVars>
      </dgm:prSet>
      <dgm:spPr/>
    </dgm:pt>
    <dgm:pt modelId="{0BC4A9C3-DF93-4F79-86CC-1750F1F2C5F9}" type="pres">
      <dgm:prSet presAssocID="{073CBC58-DFB3-4500-B702-D284A939864A}" presName="level2hierChild" presStyleCnt="0"/>
      <dgm:spPr/>
    </dgm:pt>
    <dgm:pt modelId="{47C4BA72-5EE0-4A7B-91A5-B3D3032BF118}" type="pres">
      <dgm:prSet presAssocID="{6E1FCDF0-F3B1-4E22-B8D8-BADDDF24795F}" presName="conn2-1" presStyleLbl="parChTrans1D2" presStyleIdx="0" presStyleCnt="2"/>
      <dgm:spPr/>
    </dgm:pt>
    <dgm:pt modelId="{253DC311-B868-4DB4-ADD9-505A79361D2B}" type="pres">
      <dgm:prSet presAssocID="{6E1FCDF0-F3B1-4E22-B8D8-BADDDF24795F}" presName="connTx" presStyleLbl="parChTrans1D2" presStyleIdx="0" presStyleCnt="2"/>
      <dgm:spPr/>
    </dgm:pt>
    <dgm:pt modelId="{CFCDA3B7-44A2-4882-A60A-6D6A11387934}" type="pres">
      <dgm:prSet presAssocID="{52CDA2B5-C520-48BB-A367-366D65CD21E6}" presName="root2" presStyleCnt="0"/>
      <dgm:spPr/>
    </dgm:pt>
    <dgm:pt modelId="{1BB5F9C1-4006-442D-98F1-F996D29A94A3}" type="pres">
      <dgm:prSet presAssocID="{52CDA2B5-C520-48BB-A367-366D65CD21E6}" presName="LevelTwoTextNode" presStyleLbl="node2" presStyleIdx="0" presStyleCnt="2">
        <dgm:presLayoutVars>
          <dgm:chPref val="3"/>
        </dgm:presLayoutVars>
      </dgm:prSet>
      <dgm:spPr/>
    </dgm:pt>
    <dgm:pt modelId="{74DBC71F-94B7-42AF-90A6-8661E6020136}" type="pres">
      <dgm:prSet presAssocID="{52CDA2B5-C520-48BB-A367-366D65CD21E6}" presName="level3hierChild" presStyleCnt="0"/>
      <dgm:spPr/>
    </dgm:pt>
    <dgm:pt modelId="{B4409428-153B-4FA5-9511-51A647F291D4}" type="pres">
      <dgm:prSet presAssocID="{E9FA90A6-1150-4DFD-8C75-52EA92EA556C}" presName="conn2-1" presStyleLbl="parChTrans1D3" presStyleIdx="0" presStyleCnt="4"/>
      <dgm:spPr/>
    </dgm:pt>
    <dgm:pt modelId="{E8F80A5B-1D2B-4A39-953E-406EB032A776}" type="pres">
      <dgm:prSet presAssocID="{E9FA90A6-1150-4DFD-8C75-52EA92EA556C}" presName="connTx" presStyleLbl="parChTrans1D3" presStyleIdx="0" presStyleCnt="4"/>
      <dgm:spPr/>
    </dgm:pt>
    <dgm:pt modelId="{33E4B757-6C72-4347-9B54-ED8670D61C5D}" type="pres">
      <dgm:prSet presAssocID="{9D9E3EBA-777D-46B9-8CA9-48F5420493BE}" presName="root2" presStyleCnt="0"/>
      <dgm:spPr/>
    </dgm:pt>
    <dgm:pt modelId="{D476F8E8-5292-431D-B51F-6431042838A3}" type="pres">
      <dgm:prSet presAssocID="{9D9E3EBA-777D-46B9-8CA9-48F5420493BE}" presName="LevelTwoTextNode" presStyleLbl="node3" presStyleIdx="0" presStyleCnt="4">
        <dgm:presLayoutVars>
          <dgm:chPref val="3"/>
        </dgm:presLayoutVars>
      </dgm:prSet>
      <dgm:spPr/>
    </dgm:pt>
    <dgm:pt modelId="{B40E3760-F0F4-487F-9FBE-2A21C33A216D}" type="pres">
      <dgm:prSet presAssocID="{9D9E3EBA-777D-46B9-8CA9-48F5420493BE}" presName="level3hierChild" presStyleCnt="0"/>
      <dgm:spPr/>
    </dgm:pt>
    <dgm:pt modelId="{1251F854-5E77-46EE-9263-0C69B548763D}" type="pres">
      <dgm:prSet presAssocID="{0045B862-2934-471C-97C2-E2FFEB67A99D}" presName="conn2-1" presStyleLbl="parChTrans1D3" presStyleIdx="1" presStyleCnt="4"/>
      <dgm:spPr/>
    </dgm:pt>
    <dgm:pt modelId="{B22AF438-F0BC-499A-AABC-2EABC2C25F6F}" type="pres">
      <dgm:prSet presAssocID="{0045B862-2934-471C-97C2-E2FFEB67A99D}" presName="connTx" presStyleLbl="parChTrans1D3" presStyleIdx="1" presStyleCnt="4"/>
      <dgm:spPr/>
    </dgm:pt>
    <dgm:pt modelId="{00C8852B-C931-4BCA-BAA4-75217C93C5A2}" type="pres">
      <dgm:prSet presAssocID="{FF7F1C55-2118-47E3-B9C3-4D50BD641F3A}" presName="root2" presStyleCnt="0"/>
      <dgm:spPr/>
    </dgm:pt>
    <dgm:pt modelId="{4466A961-C77F-4DB9-BB0D-824C8243C7CC}" type="pres">
      <dgm:prSet presAssocID="{FF7F1C55-2118-47E3-B9C3-4D50BD641F3A}" presName="LevelTwoTextNode" presStyleLbl="node3" presStyleIdx="1" presStyleCnt="4">
        <dgm:presLayoutVars>
          <dgm:chPref val="3"/>
        </dgm:presLayoutVars>
      </dgm:prSet>
      <dgm:spPr/>
    </dgm:pt>
    <dgm:pt modelId="{84D875C3-6143-4495-8855-DD1F6F193A4E}" type="pres">
      <dgm:prSet presAssocID="{FF7F1C55-2118-47E3-B9C3-4D50BD641F3A}" presName="level3hierChild" presStyleCnt="0"/>
      <dgm:spPr/>
    </dgm:pt>
    <dgm:pt modelId="{50A69B60-83EB-477E-BB10-9EAF8383AD23}" type="pres">
      <dgm:prSet presAssocID="{39728903-347C-4A12-BA53-3C4A6785FD2E}" presName="conn2-1" presStyleLbl="parChTrans1D3" presStyleIdx="2" presStyleCnt="4"/>
      <dgm:spPr/>
    </dgm:pt>
    <dgm:pt modelId="{1CEEFC9E-8CA9-4536-B4C9-82ACCD9F483F}" type="pres">
      <dgm:prSet presAssocID="{39728903-347C-4A12-BA53-3C4A6785FD2E}" presName="connTx" presStyleLbl="parChTrans1D3" presStyleIdx="2" presStyleCnt="4"/>
      <dgm:spPr/>
    </dgm:pt>
    <dgm:pt modelId="{D244DCBB-69FE-41F0-BD27-DB6EF8B38065}" type="pres">
      <dgm:prSet presAssocID="{8CB278F5-4E77-4BF4-9E35-A16A4204CF5F}" presName="root2" presStyleCnt="0"/>
      <dgm:spPr/>
    </dgm:pt>
    <dgm:pt modelId="{CB290451-1189-4AEE-8380-499DD17993B3}" type="pres">
      <dgm:prSet presAssocID="{8CB278F5-4E77-4BF4-9E35-A16A4204CF5F}" presName="LevelTwoTextNode" presStyleLbl="node3" presStyleIdx="2" presStyleCnt="4">
        <dgm:presLayoutVars>
          <dgm:chPref val="3"/>
        </dgm:presLayoutVars>
      </dgm:prSet>
      <dgm:spPr/>
    </dgm:pt>
    <dgm:pt modelId="{826B066E-8E92-411C-BDEF-AE0CF6A79986}" type="pres">
      <dgm:prSet presAssocID="{8CB278F5-4E77-4BF4-9E35-A16A4204CF5F}" presName="level3hierChild" presStyleCnt="0"/>
      <dgm:spPr/>
    </dgm:pt>
    <dgm:pt modelId="{681B22AB-15C2-4041-B549-D7787627D5B6}" type="pres">
      <dgm:prSet presAssocID="{D3767705-D36D-4ED4-B7ED-520690ADB50E}" presName="conn2-1" presStyleLbl="parChTrans1D2" presStyleIdx="1" presStyleCnt="2"/>
      <dgm:spPr/>
    </dgm:pt>
    <dgm:pt modelId="{2E58F856-5586-4543-AB1C-ED75A865F1CB}" type="pres">
      <dgm:prSet presAssocID="{D3767705-D36D-4ED4-B7ED-520690ADB50E}" presName="connTx" presStyleLbl="parChTrans1D2" presStyleIdx="1" presStyleCnt="2"/>
      <dgm:spPr/>
    </dgm:pt>
    <dgm:pt modelId="{278ABEDF-339A-4C5A-B325-2160A41A2C89}" type="pres">
      <dgm:prSet presAssocID="{83F39A12-A3EE-46AF-A575-DE46A746E9A1}" presName="root2" presStyleCnt="0"/>
      <dgm:spPr/>
    </dgm:pt>
    <dgm:pt modelId="{3AD77C81-9D0D-45B2-AC47-1F9051F575F0}" type="pres">
      <dgm:prSet presAssocID="{83F39A12-A3EE-46AF-A575-DE46A746E9A1}" presName="LevelTwoTextNode" presStyleLbl="node2" presStyleIdx="1" presStyleCnt="2">
        <dgm:presLayoutVars>
          <dgm:chPref val="3"/>
        </dgm:presLayoutVars>
      </dgm:prSet>
      <dgm:spPr/>
    </dgm:pt>
    <dgm:pt modelId="{7748761B-E958-4C30-817D-028A6FFD266A}" type="pres">
      <dgm:prSet presAssocID="{83F39A12-A3EE-46AF-A575-DE46A746E9A1}" presName="level3hierChild" presStyleCnt="0"/>
      <dgm:spPr/>
    </dgm:pt>
    <dgm:pt modelId="{E5364A66-C3D4-40A6-99F8-944C5526AC38}" type="pres">
      <dgm:prSet presAssocID="{4F7AEC30-D182-4C47-8B80-9C91BFEA4017}" presName="conn2-1" presStyleLbl="parChTrans1D3" presStyleIdx="3" presStyleCnt="4"/>
      <dgm:spPr/>
    </dgm:pt>
    <dgm:pt modelId="{96656031-82E2-4912-AB7C-C37E3B035904}" type="pres">
      <dgm:prSet presAssocID="{4F7AEC30-D182-4C47-8B80-9C91BFEA4017}" presName="connTx" presStyleLbl="parChTrans1D3" presStyleIdx="3" presStyleCnt="4"/>
      <dgm:spPr/>
    </dgm:pt>
    <dgm:pt modelId="{2C5853CB-FD61-4CD8-82DF-A0BE05E010D8}" type="pres">
      <dgm:prSet presAssocID="{D6BCBE23-B56A-473D-B037-A33A0F59F572}" presName="root2" presStyleCnt="0"/>
      <dgm:spPr/>
    </dgm:pt>
    <dgm:pt modelId="{A09839E1-F419-45D5-A3F5-0DEEB726ABD3}" type="pres">
      <dgm:prSet presAssocID="{D6BCBE23-B56A-473D-B037-A33A0F59F572}" presName="LevelTwoTextNode" presStyleLbl="node3" presStyleIdx="3" presStyleCnt="4">
        <dgm:presLayoutVars>
          <dgm:chPref val="3"/>
        </dgm:presLayoutVars>
      </dgm:prSet>
      <dgm:spPr/>
    </dgm:pt>
    <dgm:pt modelId="{99C37140-63A7-4814-A698-09F8E8598BAF}" type="pres">
      <dgm:prSet presAssocID="{D6BCBE23-B56A-473D-B037-A33A0F59F572}" presName="level3hierChild" presStyleCnt="0"/>
      <dgm:spPr/>
    </dgm:pt>
  </dgm:ptLst>
  <dgm:cxnLst>
    <dgm:cxn modelId="{393CDB0B-667E-44EC-BF0A-0F0C2AD3D173}" type="presOf" srcId="{83F39A12-A3EE-46AF-A575-DE46A746E9A1}" destId="{3AD77C81-9D0D-45B2-AC47-1F9051F575F0}" srcOrd="0" destOrd="0" presId="urn:microsoft.com/office/officeart/2005/8/layout/hierarchy2"/>
    <dgm:cxn modelId="{A90A4412-D5C9-4093-B644-100D51653BE3}" type="presOf" srcId="{FF7F1C55-2118-47E3-B9C3-4D50BD641F3A}" destId="{4466A961-C77F-4DB9-BB0D-824C8243C7CC}" srcOrd="0" destOrd="0" presId="urn:microsoft.com/office/officeart/2005/8/layout/hierarchy2"/>
    <dgm:cxn modelId="{B78E5A12-9054-4C67-BB0C-6DE50D490BA5}" type="presOf" srcId="{4F7AEC30-D182-4C47-8B80-9C91BFEA4017}" destId="{96656031-82E2-4912-AB7C-C37E3B035904}" srcOrd="1" destOrd="0" presId="urn:microsoft.com/office/officeart/2005/8/layout/hierarchy2"/>
    <dgm:cxn modelId="{9CE5FC1F-1055-4C19-A7CD-469AF8D42FE4}" srcId="{83F39A12-A3EE-46AF-A575-DE46A746E9A1}" destId="{D6BCBE23-B56A-473D-B037-A33A0F59F572}" srcOrd="0" destOrd="0" parTransId="{4F7AEC30-D182-4C47-8B80-9C91BFEA4017}" sibTransId="{B2CB7B1C-5201-43B1-950F-4B278C362B5B}"/>
    <dgm:cxn modelId="{641EE928-1ECC-4086-A31A-68364F1F847F}" srcId="{073CBC58-DFB3-4500-B702-D284A939864A}" destId="{52CDA2B5-C520-48BB-A367-366D65CD21E6}" srcOrd="0" destOrd="0" parTransId="{6E1FCDF0-F3B1-4E22-B8D8-BADDDF24795F}" sibTransId="{7C5624A9-4D2C-410F-B6F3-4844765E0202}"/>
    <dgm:cxn modelId="{2C4DE331-650E-4AD5-993E-5F8BB8E66C04}" srcId="{52CDA2B5-C520-48BB-A367-366D65CD21E6}" destId="{8CB278F5-4E77-4BF4-9E35-A16A4204CF5F}" srcOrd="2" destOrd="0" parTransId="{39728903-347C-4A12-BA53-3C4A6785FD2E}" sibTransId="{22202D33-77D1-4D32-A298-E7CCD244EE88}"/>
    <dgm:cxn modelId="{76922433-9A4F-4341-A958-93FE73389285}" type="presOf" srcId="{6E1FCDF0-F3B1-4E22-B8D8-BADDDF24795F}" destId="{47C4BA72-5EE0-4A7B-91A5-B3D3032BF118}" srcOrd="0" destOrd="0" presId="urn:microsoft.com/office/officeart/2005/8/layout/hierarchy2"/>
    <dgm:cxn modelId="{0609493B-DEC7-43F2-A666-AA9D51A4B682}" type="presOf" srcId="{0045B862-2934-471C-97C2-E2FFEB67A99D}" destId="{1251F854-5E77-46EE-9263-0C69B548763D}" srcOrd="0" destOrd="0" presId="urn:microsoft.com/office/officeart/2005/8/layout/hierarchy2"/>
    <dgm:cxn modelId="{BCA0C840-4762-4B02-9A87-879318E403A5}" type="presOf" srcId="{E9FA90A6-1150-4DFD-8C75-52EA92EA556C}" destId="{E8F80A5B-1D2B-4A39-953E-406EB032A776}" srcOrd="1" destOrd="0" presId="urn:microsoft.com/office/officeart/2005/8/layout/hierarchy2"/>
    <dgm:cxn modelId="{AE359846-857F-4444-B882-06D63591D6D5}" type="presOf" srcId="{39728903-347C-4A12-BA53-3C4A6785FD2E}" destId="{50A69B60-83EB-477E-BB10-9EAF8383AD23}" srcOrd="0" destOrd="0" presId="urn:microsoft.com/office/officeart/2005/8/layout/hierarchy2"/>
    <dgm:cxn modelId="{3E1BA268-2972-4BC3-9722-B5EACE1D50CE}" srcId="{073CBC58-DFB3-4500-B702-D284A939864A}" destId="{83F39A12-A3EE-46AF-A575-DE46A746E9A1}" srcOrd="1" destOrd="0" parTransId="{D3767705-D36D-4ED4-B7ED-520690ADB50E}" sibTransId="{B2E3DFD4-06CB-4D70-A4EF-EE1367DFA6D9}"/>
    <dgm:cxn modelId="{44B6AF4A-38D7-424E-9658-44349C941FC3}" type="presOf" srcId="{9D9E3EBA-777D-46B9-8CA9-48F5420493BE}" destId="{D476F8E8-5292-431D-B51F-6431042838A3}" srcOrd="0" destOrd="0" presId="urn:microsoft.com/office/officeart/2005/8/layout/hierarchy2"/>
    <dgm:cxn modelId="{0AD9356B-70BD-4085-829E-9A0D22F34F11}" type="presOf" srcId="{52CDA2B5-C520-48BB-A367-366D65CD21E6}" destId="{1BB5F9C1-4006-442D-98F1-F996D29A94A3}" srcOrd="0" destOrd="0" presId="urn:microsoft.com/office/officeart/2005/8/layout/hierarchy2"/>
    <dgm:cxn modelId="{6C8C5178-5DFD-446B-972E-342CE77F04ED}" type="presOf" srcId="{D3767705-D36D-4ED4-B7ED-520690ADB50E}" destId="{2E58F856-5586-4543-AB1C-ED75A865F1CB}" srcOrd="1" destOrd="0" presId="urn:microsoft.com/office/officeart/2005/8/layout/hierarchy2"/>
    <dgm:cxn modelId="{B79CEF85-EB45-4E70-9537-0E3FB02B5941}" srcId="{52CDA2B5-C520-48BB-A367-366D65CD21E6}" destId="{FF7F1C55-2118-47E3-B9C3-4D50BD641F3A}" srcOrd="1" destOrd="0" parTransId="{0045B862-2934-471C-97C2-E2FFEB67A99D}" sibTransId="{1F9C9302-FC97-401E-82E9-4DE5DA137857}"/>
    <dgm:cxn modelId="{DBA2199C-27B8-439B-A47F-1F4E98C10B9D}" type="presOf" srcId="{0045B862-2934-471C-97C2-E2FFEB67A99D}" destId="{B22AF438-F0BC-499A-AABC-2EABC2C25F6F}" srcOrd="1" destOrd="0" presId="urn:microsoft.com/office/officeart/2005/8/layout/hierarchy2"/>
    <dgm:cxn modelId="{E2F7E29D-D129-43FF-AF3F-44BD3B86050F}" type="presOf" srcId="{8CB278F5-4E77-4BF4-9E35-A16A4204CF5F}" destId="{CB290451-1189-4AEE-8380-499DD17993B3}" srcOrd="0" destOrd="0" presId="urn:microsoft.com/office/officeart/2005/8/layout/hierarchy2"/>
    <dgm:cxn modelId="{E6C501A8-5AD1-48C7-B0ED-FCC5692AFD2E}" type="presOf" srcId="{D6BCBE23-B56A-473D-B037-A33A0F59F572}" destId="{A09839E1-F419-45D5-A3F5-0DEEB726ABD3}" srcOrd="0" destOrd="0" presId="urn:microsoft.com/office/officeart/2005/8/layout/hierarchy2"/>
    <dgm:cxn modelId="{23DF21AC-BA4D-4C57-8662-6D1F73CF28D2}" type="presOf" srcId="{073CBC58-DFB3-4500-B702-D284A939864A}" destId="{168F223D-5A4F-4263-A5C8-E5E2514C313A}" srcOrd="0" destOrd="0" presId="urn:microsoft.com/office/officeart/2005/8/layout/hierarchy2"/>
    <dgm:cxn modelId="{C3F85DAE-7E69-42A0-B956-85060DE86415}" type="presOf" srcId="{E9FA90A6-1150-4DFD-8C75-52EA92EA556C}" destId="{B4409428-153B-4FA5-9511-51A647F291D4}" srcOrd="0" destOrd="0" presId="urn:microsoft.com/office/officeart/2005/8/layout/hierarchy2"/>
    <dgm:cxn modelId="{9FB855B0-7BC9-475B-BD77-AAFC6F50F935}" type="presOf" srcId="{4F7AEC30-D182-4C47-8B80-9C91BFEA4017}" destId="{E5364A66-C3D4-40A6-99F8-944C5526AC38}" srcOrd="0" destOrd="0" presId="urn:microsoft.com/office/officeart/2005/8/layout/hierarchy2"/>
    <dgm:cxn modelId="{1FDC0FB9-8568-4E1E-A760-DC15EDC8F1F2}" type="presOf" srcId="{6E1FCDF0-F3B1-4E22-B8D8-BADDDF24795F}" destId="{253DC311-B868-4DB4-ADD9-505A79361D2B}" srcOrd="1" destOrd="0" presId="urn:microsoft.com/office/officeart/2005/8/layout/hierarchy2"/>
    <dgm:cxn modelId="{131A1BC6-4D0E-469D-A7C4-24AB10021590}" srcId="{7D1C48CC-83B3-4F93-907A-E29CFA391530}" destId="{073CBC58-DFB3-4500-B702-D284A939864A}" srcOrd="0" destOrd="0" parTransId="{5B5CA91F-0707-4C89-A578-A7302CCD176C}" sibTransId="{EFBC3382-2D42-4A95-ADDB-33116036969F}"/>
    <dgm:cxn modelId="{6E6FE6C7-175B-4888-A4C1-C44BB78D64F1}" type="presOf" srcId="{7D1C48CC-83B3-4F93-907A-E29CFA391530}" destId="{AE1A199E-7448-4CDE-ACEF-AF992354AABD}" srcOrd="0" destOrd="0" presId="urn:microsoft.com/office/officeart/2005/8/layout/hierarchy2"/>
    <dgm:cxn modelId="{273F61D4-D4B4-43BD-9F57-E14C85D92F59}" type="presOf" srcId="{D3767705-D36D-4ED4-B7ED-520690ADB50E}" destId="{681B22AB-15C2-4041-B549-D7787627D5B6}" srcOrd="0" destOrd="0" presId="urn:microsoft.com/office/officeart/2005/8/layout/hierarchy2"/>
    <dgm:cxn modelId="{7C58D3DB-49AB-4FB7-BB9C-6BF297394DB7}" srcId="{52CDA2B5-C520-48BB-A367-366D65CD21E6}" destId="{9D9E3EBA-777D-46B9-8CA9-48F5420493BE}" srcOrd="0" destOrd="0" parTransId="{E9FA90A6-1150-4DFD-8C75-52EA92EA556C}" sibTransId="{E3E8EC47-60E3-4F70-B596-5B0B89B3F219}"/>
    <dgm:cxn modelId="{C20125F4-A582-412F-A704-68D3FDB4DBCC}" type="presOf" srcId="{39728903-347C-4A12-BA53-3C4A6785FD2E}" destId="{1CEEFC9E-8CA9-4536-B4C9-82ACCD9F483F}" srcOrd="1" destOrd="0" presId="urn:microsoft.com/office/officeart/2005/8/layout/hierarchy2"/>
    <dgm:cxn modelId="{B5F68306-7D7D-4464-8FA9-E57AE9E5F0F8}" type="presParOf" srcId="{AE1A199E-7448-4CDE-ACEF-AF992354AABD}" destId="{24DAF4A1-ACA0-4A4A-9DFF-3F5AFB77F103}" srcOrd="0" destOrd="0" presId="urn:microsoft.com/office/officeart/2005/8/layout/hierarchy2"/>
    <dgm:cxn modelId="{67F09DA6-476C-4AD8-B9F0-11DC0BFBBDBF}" type="presParOf" srcId="{24DAF4A1-ACA0-4A4A-9DFF-3F5AFB77F103}" destId="{168F223D-5A4F-4263-A5C8-E5E2514C313A}" srcOrd="0" destOrd="0" presId="urn:microsoft.com/office/officeart/2005/8/layout/hierarchy2"/>
    <dgm:cxn modelId="{10837ABE-0D8F-42D0-8CB3-9524129B5A31}" type="presParOf" srcId="{24DAF4A1-ACA0-4A4A-9DFF-3F5AFB77F103}" destId="{0BC4A9C3-DF93-4F79-86CC-1750F1F2C5F9}" srcOrd="1" destOrd="0" presId="urn:microsoft.com/office/officeart/2005/8/layout/hierarchy2"/>
    <dgm:cxn modelId="{C4ABB210-A3DE-4B43-BF51-C6FB6E1465DE}" type="presParOf" srcId="{0BC4A9C3-DF93-4F79-86CC-1750F1F2C5F9}" destId="{47C4BA72-5EE0-4A7B-91A5-B3D3032BF118}" srcOrd="0" destOrd="0" presId="urn:microsoft.com/office/officeart/2005/8/layout/hierarchy2"/>
    <dgm:cxn modelId="{41EBDC33-2C0C-4D48-84FC-EBF9C785DBBA}" type="presParOf" srcId="{47C4BA72-5EE0-4A7B-91A5-B3D3032BF118}" destId="{253DC311-B868-4DB4-ADD9-505A79361D2B}" srcOrd="0" destOrd="0" presId="urn:microsoft.com/office/officeart/2005/8/layout/hierarchy2"/>
    <dgm:cxn modelId="{7522BF97-2ED4-4FD7-AA2E-515BAEC8976C}" type="presParOf" srcId="{0BC4A9C3-DF93-4F79-86CC-1750F1F2C5F9}" destId="{CFCDA3B7-44A2-4882-A60A-6D6A11387934}" srcOrd="1" destOrd="0" presId="urn:microsoft.com/office/officeart/2005/8/layout/hierarchy2"/>
    <dgm:cxn modelId="{D6FD56B8-31DF-4420-9EE0-660FE367E1CD}" type="presParOf" srcId="{CFCDA3B7-44A2-4882-A60A-6D6A11387934}" destId="{1BB5F9C1-4006-442D-98F1-F996D29A94A3}" srcOrd="0" destOrd="0" presId="urn:microsoft.com/office/officeart/2005/8/layout/hierarchy2"/>
    <dgm:cxn modelId="{C5471F44-860E-4671-A58D-97ADF6CBA5DF}" type="presParOf" srcId="{CFCDA3B7-44A2-4882-A60A-6D6A11387934}" destId="{74DBC71F-94B7-42AF-90A6-8661E6020136}" srcOrd="1" destOrd="0" presId="urn:microsoft.com/office/officeart/2005/8/layout/hierarchy2"/>
    <dgm:cxn modelId="{60B5519A-0F33-4D77-8ADD-E334D1C8EEB4}" type="presParOf" srcId="{74DBC71F-94B7-42AF-90A6-8661E6020136}" destId="{B4409428-153B-4FA5-9511-51A647F291D4}" srcOrd="0" destOrd="0" presId="urn:microsoft.com/office/officeart/2005/8/layout/hierarchy2"/>
    <dgm:cxn modelId="{7678259A-AA94-4E9B-998A-2C7F6AF1F4E6}" type="presParOf" srcId="{B4409428-153B-4FA5-9511-51A647F291D4}" destId="{E8F80A5B-1D2B-4A39-953E-406EB032A776}" srcOrd="0" destOrd="0" presId="urn:microsoft.com/office/officeart/2005/8/layout/hierarchy2"/>
    <dgm:cxn modelId="{46F141CF-6BB4-489B-A164-BD552A5DCFB2}" type="presParOf" srcId="{74DBC71F-94B7-42AF-90A6-8661E6020136}" destId="{33E4B757-6C72-4347-9B54-ED8670D61C5D}" srcOrd="1" destOrd="0" presId="urn:microsoft.com/office/officeart/2005/8/layout/hierarchy2"/>
    <dgm:cxn modelId="{ECBE8C83-6A56-4E8D-83BA-833E41BD6224}" type="presParOf" srcId="{33E4B757-6C72-4347-9B54-ED8670D61C5D}" destId="{D476F8E8-5292-431D-B51F-6431042838A3}" srcOrd="0" destOrd="0" presId="urn:microsoft.com/office/officeart/2005/8/layout/hierarchy2"/>
    <dgm:cxn modelId="{084F7E14-AEDD-495A-B621-09113A9B3936}" type="presParOf" srcId="{33E4B757-6C72-4347-9B54-ED8670D61C5D}" destId="{B40E3760-F0F4-487F-9FBE-2A21C33A216D}" srcOrd="1" destOrd="0" presId="urn:microsoft.com/office/officeart/2005/8/layout/hierarchy2"/>
    <dgm:cxn modelId="{EC305970-C433-43FE-A5A1-46F830F34B03}" type="presParOf" srcId="{74DBC71F-94B7-42AF-90A6-8661E6020136}" destId="{1251F854-5E77-46EE-9263-0C69B548763D}" srcOrd="2" destOrd="0" presId="urn:microsoft.com/office/officeart/2005/8/layout/hierarchy2"/>
    <dgm:cxn modelId="{75A8EB11-C488-4475-B835-679C727A35BF}" type="presParOf" srcId="{1251F854-5E77-46EE-9263-0C69B548763D}" destId="{B22AF438-F0BC-499A-AABC-2EABC2C25F6F}" srcOrd="0" destOrd="0" presId="urn:microsoft.com/office/officeart/2005/8/layout/hierarchy2"/>
    <dgm:cxn modelId="{BF89155F-BA28-46D8-91B5-2F1A7783A7E0}" type="presParOf" srcId="{74DBC71F-94B7-42AF-90A6-8661E6020136}" destId="{00C8852B-C931-4BCA-BAA4-75217C93C5A2}" srcOrd="3" destOrd="0" presId="urn:microsoft.com/office/officeart/2005/8/layout/hierarchy2"/>
    <dgm:cxn modelId="{7AC246F7-76C6-45F4-9AD7-405B2BB9622F}" type="presParOf" srcId="{00C8852B-C931-4BCA-BAA4-75217C93C5A2}" destId="{4466A961-C77F-4DB9-BB0D-824C8243C7CC}" srcOrd="0" destOrd="0" presId="urn:microsoft.com/office/officeart/2005/8/layout/hierarchy2"/>
    <dgm:cxn modelId="{F5E5B9C2-F276-47C6-B3DF-BDE3F866D074}" type="presParOf" srcId="{00C8852B-C931-4BCA-BAA4-75217C93C5A2}" destId="{84D875C3-6143-4495-8855-DD1F6F193A4E}" srcOrd="1" destOrd="0" presId="urn:microsoft.com/office/officeart/2005/8/layout/hierarchy2"/>
    <dgm:cxn modelId="{EF7AE583-4406-44FF-AC91-143D3446A9A3}" type="presParOf" srcId="{74DBC71F-94B7-42AF-90A6-8661E6020136}" destId="{50A69B60-83EB-477E-BB10-9EAF8383AD23}" srcOrd="4" destOrd="0" presId="urn:microsoft.com/office/officeart/2005/8/layout/hierarchy2"/>
    <dgm:cxn modelId="{92380AD1-84C8-4229-AB63-6CB5BC9C3DFF}" type="presParOf" srcId="{50A69B60-83EB-477E-BB10-9EAF8383AD23}" destId="{1CEEFC9E-8CA9-4536-B4C9-82ACCD9F483F}" srcOrd="0" destOrd="0" presId="urn:microsoft.com/office/officeart/2005/8/layout/hierarchy2"/>
    <dgm:cxn modelId="{8AD72EE2-83BF-4889-90FD-37F081C69268}" type="presParOf" srcId="{74DBC71F-94B7-42AF-90A6-8661E6020136}" destId="{D244DCBB-69FE-41F0-BD27-DB6EF8B38065}" srcOrd="5" destOrd="0" presId="urn:microsoft.com/office/officeart/2005/8/layout/hierarchy2"/>
    <dgm:cxn modelId="{06372A5E-E2DB-4C3C-9F64-B9E4F2252F97}" type="presParOf" srcId="{D244DCBB-69FE-41F0-BD27-DB6EF8B38065}" destId="{CB290451-1189-4AEE-8380-499DD17993B3}" srcOrd="0" destOrd="0" presId="urn:microsoft.com/office/officeart/2005/8/layout/hierarchy2"/>
    <dgm:cxn modelId="{5D3BF406-9C11-4C4F-8954-CCAB6788D502}" type="presParOf" srcId="{D244DCBB-69FE-41F0-BD27-DB6EF8B38065}" destId="{826B066E-8E92-411C-BDEF-AE0CF6A79986}" srcOrd="1" destOrd="0" presId="urn:microsoft.com/office/officeart/2005/8/layout/hierarchy2"/>
    <dgm:cxn modelId="{5BC0C5C7-3F21-40FD-BBFE-9B98F414E065}" type="presParOf" srcId="{0BC4A9C3-DF93-4F79-86CC-1750F1F2C5F9}" destId="{681B22AB-15C2-4041-B549-D7787627D5B6}" srcOrd="2" destOrd="0" presId="urn:microsoft.com/office/officeart/2005/8/layout/hierarchy2"/>
    <dgm:cxn modelId="{9ABF1A19-56AD-463C-B079-E08A914D4F2E}" type="presParOf" srcId="{681B22AB-15C2-4041-B549-D7787627D5B6}" destId="{2E58F856-5586-4543-AB1C-ED75A865F1CB}" srcOrd="0" destOrd="0" presId="urn:microsoft.com/office/officeart/2005/8/layout/hierarchy2"/>
    <dgm:cxn modelId="{43231310-17E3-416E-96B6-84C8202BBFFD}" type="presParOf" srcId="{0BC4A9C3-DF93-4F79-86CC-1750F1F2C5F9}" destId="{278ABEDF-339A-4C5A-B325-2160A41A2C89}" srcOrd="3" destOrd="0" presId="urn:microsoft.com/office/officeart/2005/8/layout/hierarchy2"/>
    <dgm:cxn modelId="{E33DBC6B-338C-43B2-9BD9-A1E41F915D71}" type="presParOf" srcId="{278ABEDF-339A-4C5A-B325-2160A41A2C89}" destId="{3AD77C81-9D0D-45B2-AC47-1F9051F575F0}" srcOrd="0" destOrd="0" presId="urn:microsoft.com/office/officeart/2005/8/layout/hierarchy2"/>
    <dgm:cxn modelId="{C14C5293-C798-4812-A264-37565F8070A9}" type="presParOf" srcId="{278ABEDF-339A-4C5A-B325-2160A41A2C89}" destId="{7748761B-E958-4C30-817D-028A6FFD266A}" srcOrd="1" destOrd="0" presId="urn:microsoft.com/office/officeart/2005/8/layout/hierarchy2"/>
    <dgm:cxn modelId="{6AE6E2F1-3308-4D8D-A870-4F2C1D2790B2}" type="presParOf" srcId="{7748761B-E958-4C30-817D-028A6FFD266A}" destId="{E5364A66-C3D4-40A6-99F8-944C5526AC38}" srcOrd="0" destOrd="0" presId="urn:microsoft.com/office/officeart/2005/8/layout/hierarchy2"/>
    <dgm:cxn modelId="{C85DF492-DBAD-46E2-BCF5-68678B69593D}" type="presParOf" srcId="{E5364A66-C3D4-40A6-99F8-944C5526AC38}" destId="{96656031-82E2-4912-AB7C-C37E3B035904}" srcOrd="0" destOrd="0" presId="urn:microsoft.com/office/officeart/2005/8/layout/hierarchy2"/>
    <dgm:cxn modelId="{2249856D-AA57-4523-A026-73F0510A2EA9}" type="presParOf" srcId="{7748761B-E958-4C30-817D-028A6FFD266A}" destId="{2C5853CB-FD61-4CD8-82DF-A0BE05E010D8}" srcOrd="1" destOrd="0" presId="urn:microsoft.com/office/officeart/2005/8/layout/hierarchy2"/>
    <dgm:cxn modelId="{C10E2217-6E21-4427-AB21-88F78D71B03E}" type="presParOf" srcId="{2C5853CB-FD61-4CD8-82DF-A0BE05E010D8}" destId="{A09839E1-F419-45D5-A3F5-0DEEB726ABD3}" srcOrd="0" destOrd="0" presId="urn:microsoft.com/office/officeart/2005/8/layout/hierarchy2"/>
    <dgm:cxn modelId="{3E0B4D82-DAD7-48DB-A287-FD54C2FC2F17}" type="presParOf" srcId="{2C5853CB-FD61-4CD8-82DF-A0BE05E010D8}" destId="{99C37140-63A7-4814-A698-09F8E8598BA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8F223D-5A4F-4263-A5C8-E5E2514C313A}">
      <dsp:nvSpPr>
        <dsp:cNvPr id="0" name=""/>
        <dsp:cNvSpPr/>
      </dsp:nvSpPr>
      <dsp:spPr>
        <a:xfrm>
          <a:off x="2116" y="2789502"/>
          <a:ext cx="2137833" cy="10689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atent infringement</a:t>
          </a:r>
        </a:p>
      </dsp:txBody>
      <dsp:txXfrm>
        <a:off x="33423" y="2820809"/>
        <a:ext cx="2075219" cy="1006302"/>
      </dsp:txXfrm>
    </dsp:sp>
    <dsp:sp modelId="{47C4BA72-5EE0-4A7B-91A5-B3D3032BF118}">
      <dsp:nvSpPr>
        <dsp:cNvPr id="0" name=""/>
        <dsp:cNvSpPr/>
      </dsp:nvSpPr>
      <dsp:spPr>
        <a:xfrm rot="18289469">
          <a:off x="1818797" y="2691579"/>
          <a:ext cx="1497437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1497437" y="17753"/>
              </a:lnTo>
            </a:path>
          </a:pathLst>
        </a:custGeom>
        <a:noFill/>
        <a:ln w="2222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530080" y="2671897"/>
        <a:ext cx="74871" cy="74871"/>
      </dsp:txXfrm>
    </dsp:sp>
    <dsp:sp modelId="{1BB5F9C1-4006-442D-98F1-F996D29A94A3}">
      <dsp:nvSpPr>
        <dsp:cNvPr id="0" name=""/>
        <dsp:cNvSpPr/>
      </dsp:nvSpPr>
      <dsp:spPr>
        <a:xfrm>
          <a:off x="2995083" y="1560248"/>
          <a:ext cx="2137833" cy="10689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Join OIN</a:t>
          </a:r>
        </a:p>
      </dsp:txBody>
      <dsp:txXfrm>
        <a:off x="3026390" y="1591555"/>
        <a:ext cx="2075219" cy="1006302"/>
      </dsp:txXfrm>
    </dsp:sp>
    <dsp:sp modelId="{B4409428-153B-4FA5-9511-51A647F291D4}">
      <dsp:nvSpPr>
        <dsp:cNvPr id="0" name=""/>
        <dsp:cNvSpPr/>
      </dsp:nvSpPr>
      <dsp:spPr>
        <a:xfrm rot="18289469">
          <a:off x="4811764" y="1462325"/>
          <a:ext cx="1497437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1497437" y="17753"/>
              </a:lnTo>
            </a:path>
          </a:pathLst>
        </a:custGeom>
        <a:noFill/>
        <a:ln w="22225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23047" y="1442643"/>
        <a:ext cx="74871" cy="74871"/>
      </dsp:txXfrm>
    </dsp:sp>
    <dsp:sp modelId="{D476F8E8-5292-431D-B51F-6431042838A3}">
      <dsp:nvSpPr>
        <dsp:cNvPr id="0" name=""/>
        <dsp:cNvSpPr/>
      </dsp:nvSpPr>
      <dsp:spPr>
        <a:xfrm>
          <a:off x="5988050" y="330993"/>
          <a:ext cx="2137833" cy="10689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Who can sign a license agreement?</a:t>
          </a:r>
        </a:p>
      </dsp:txBody>
      <dsp:txXfrm>
        <a:off x="6019357" y="362300"/>
        <a:ext cx="2075219" cy="1006302"/>
      </dsp:txXfrm>
    </dsp:sp>
    <dsp:sp modelId="{1251F854-5E77-46EE-9263-0C69B548763D}">
      <dsp:nvSpPr>
        <dsp:cNvPr id="0" name=""/>
        <dsp:cNvSpPr/>
      </dsp:nvSpPr>
      <dsp:spPr>
        <a:xfrm>
          <a:off x="5132916" y="2076952"/>
          <a:ext cx="855133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855133" y="17753"/>
              </a:lnTo>
            </a:path>
          </a:pathLst>
        </a:custGeom>
        <a:noFill/>
        <a:ln w="22225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9105" y="2073328"/>
        <a:ext cx="42756" cy="42756"/>
      </dsp:txXfrm>
    </dsp:sp>
    <dsp:sp modelId="{4466A961-C77F-4DB9-BB0D-824C8243C7CC}">
      <dsp:nvSpPr>
        <dsp:cNvPr id="0" name=""/>
        <dsp:cNvSpPr/>
      </dsp:nvSpPr>
      <dsp:spPr>
        <a:xfrm>
          <a:off x="5988050" y="1560248"/>
          <a:ext cx="2137833" cy="10689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Who maintains the license agreement?</a:t>
          </a:r>
        </a:p>
      </dsp:txBody>
      <dsp:txXfrm>
        <a:off x="6019357" y="1591555"/>
        <a:ext cx="2075219" cy="1006302"/>
      </dsp:txXfrm>
    </dsp:sp>
    <dsp:sp modelId="{50A69B60-83EB-477E-BB10-9EAF8383AD23}">
      <dsp:nvSpPr>
        <dsp:cNvPr id="0" name=""/>
        <dsp:cNvSpPr/>
      </dsp:nvSpPr>
      <dsp:spPr>
        <a:xfrm rot="3310531">
          <a:off x="4811764" y="2691579"/>
          <a:ext cx="1497437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1497437" y="17753"/>
              </a:lnTo>
            </a:path>
          </a:pathLst>
        </a:custGeom>
        <a:noFill/>
        <a:ln w="22225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23047" y="2671897"/>
        <a:ext cx="74871" cy="74871"/>
      </dsp:txXfrm>
    </dsp:sp>
    <dsp:sp modelId="{CB290451-1189-4AEE-8380-499DD17993B3}">
      <dsp:nvSpPr>
        <dsp:cNvPr id="0" name=""/>
        <dsp:cNvSpPr/>
      </dsp:nvSpPr>
      <dsp:spPr>
        <a:xfrm>
          <a:off x="5988050" y="2789502"/>
          <a:ext cx="2137833" cy="10689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Who ensures that Exiv2 will become part of the Linux system definition?</a:t>
          </a:r>
        </a:p>
      </dsp:txBody>
      <dsp:txXfrm>
        <a:off x="6019357" y="2820809"/>
        <a:ext cx="2075219" cy="1006302"/>
      </dsp:txXfrm>
    </dsp:sp>
    <dsp:sp modelId="{681B22AB-15C2-4041-B549-D7787627D5B6}">
      <dsp:nvSpPr>
        <dsp:cNvPr id="0" name=""/>
        <dsp:cNvSpPr/>
      </dsp:nvSpPr>
      <dsp:spPr>
        <a:xfrm rot="3310531">
          <a:off x="1818797" y="3920833"/>
          <a:ext cx="1497437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1497437" y="17753"/>
              </a:lnTo>
            </a:path>
          </a:pathLst>
        </a:custGeom>
        <a:noFill/>
        <a:ln w="2222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530080" y="3901151"/>
        <a:ext cx="74871" cy="74871"/>
      </dsp:txXfrm>
    </dsp:sp>
    <dsp:sp modelId="{3AD77C81-9D0D-45B2-AC47-1F9051F575F0}">
      <dsp:nvSpPr>
        <dsp:cNvPr id="0" name=""/>
        <dsp:cNvSpPr/>
      </dsp:nvSpPr>
      <dsp:spPr>
        <a:xfrm>
          <a:off x="2995083" y="4018756"/>
          <a:ext cx="2137833" cy="10689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orward responsibility to the user</a:t>
          </a:r>
        </a:p>
      </dsp:txBody>
      <dsp:txXfrm>
        <a:off x="3026390" y="4050063"/>
        <a:ext cx="2075219" cy="1006302"/>
      </dsp:txXfrm>
    </dsp:sp>
    <dsp:sp modelId="{E5364A66-C3D4-40A6-99F8-944C5526AC38}">
      <dsp:nvSpPr>
        <dsp:cNvPr id="0" name=""/>
        <dsp:cNvSpPr/>
      </dsp:nvSpPr>
      <dsp:spPr>
        <a:xfrm>
          <a:off x="5132916" y="4535460"/>
          <a:ext cx="855133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855133" y="17753"/>
              </a:lnTo>
            </a:path>
          </a:pathLst>
        </a:custGeom>
        <a:noFill/>
        <a:ln w="22225" cap="rnd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9105" y="4531836"/>
        <a:ext cx="42756" cy="42756"/>
      </dsp:txXfrm>
    </dsp:sp>
    <dsp:sp modelId="{A09839E1-F419-45D5-A3F5-0DEEB726ABD3}">
      <dsp:nvSpPr>
        <dsp:cNvPr id="0" name=""/>
        <dsp:cNvSpPr/>
      </dsp:nvSpPr>
      <dsp:spPr>
        <a:xfrm>
          <a:off x="5988050" y="4018756"/>
          <a:ext cx="2137833" cy="10689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djust UI in darktable to enable specific format on user request</a:t>
          </a:r>
        </a:p>
      </dsp:txBody>
      <dsp:txXfrm>
        <a:off x="6019357" y="4050063"/>
        <a:ext cx="2075219" cy="10063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4"/>
            <a:ext cx="11298932" cy="333814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FA0ACE7-29A8-47D3-A7D9-257B711D8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91B17-9318-49DB-B28B-6E5994AE9581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EC604B9-52E9-4810-8359-47206518D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898A89F-CA25-400F-B05A-AECBF251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0175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D4963-E985-44C4-B8C4-FDD613B7C2F8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5911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058151" y="599725"/>
            <a:ext cx="3687316" cy="5816950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04200" y="863600"/>
            <a:ext cx="3124200" cy="4807326"/>
          </a:xfrm>
        </p:spPr>
        <p:txBody>
          <a:bodyPr vert="eaVert"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863600"/>
            <a:ext cx="7161625" cy="4807326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423B97-A5D4-47B9-8861-73B3707A04CF}"/>
              </a:ext>
            </a:extLst>
          </p:cNvPr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EC0421-37B4-4481-A10D-69FDF5EC7909}"/>
              </a:ext>
            </a:extLst>
          </p:cNvPr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7265B5-9F97-4F1E-99E9-74F7B7E62337}"/>
              </a:ext>
            </a:extLst>
          </p:cNvPr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5C74A470-3BD3-4F33-80E5-67E6E87FC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91B17-9318-49DB-B28B-6E5994AE9581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3A30BA-DB50-4D7D-BCDE-17D20FB35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6FF9E58-C0B2-436B-A21C-DB45A00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849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1887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340864"/>
            <a:ext cx="11029615" cy="3634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70E6237-3456-439F-802D-3BA93FC7E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82B9-B8EE-4375-B6FF-88FA6ABB15D9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56D3B5-6063-4A89-B88F-9D3043916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2B78BF7-69D3-4CE0-A631-50EFD41E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44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2393950"/>
            <a:ext cx="11029615" cy="214746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582016-5696-4A93-887F-BBB3B9002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7495-0637-405E-AE64-5CC7506D51F5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7CFCD5-1192-4E18-8A8F-29E153B44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39A109E-5018-4794-92B3-FD5E5BCD9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809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194767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6039" y="2228003"/>
            <a:ext cx="5194769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FD690-9426-415D-8B65-26881E07B2D4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323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1" y="2250891"/>
            <a:ext cx="5194769" cy="557784"/>
          </a:xfrm>
        </p:spPr>
        <p:txBody>
          <a:bodyPr anchor="ctr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194766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6039" y="2250892"/>
            <a:ext cx="5194770" cy="553373"/>
          </a:xfrm>
        </p:spPr>
        <p:txBody>
          <a:bodyPr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6037" y="2926052"/>
            <a:ext cx="5194771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4989A-474C-40DE-95B9-011C28B71673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046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4ED54-5B5E-4A04-93D3-5772E3CE3818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36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E50D6-574B-40AF-946F-D52A04ADE379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4949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601200"/>
            <a:ext cx="3682723" cy="5815475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857" y="933450"/>
            <a:ext cx="3031852" cy="1722419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0928" y="1179829"/>
            <a:ext cx="6650991" cy="4658216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57" y="2836654"/>
            <a:ext cx="3031852" cy="3001392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FFFFFF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B919CC2-2A65-446F-B538-9E62490354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456916"/>
            <a:ext cx="2844799" cy="365125"/>
          </a:xfrm>
        </p:spPr>
        <p:txBody>
          <a:bodyPr/>
          <a:lstStyle/>
          <a:p>
            <a:fld id="{D82884F1-FFEA-405F-9602-3DCA865EDA4E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72412AE-119E-4982-8B24-63365EFCA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52590"/>
            <a:ext cx="691721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FC4BB19-6AD1-45CF-9F99-00B109890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56916"/>
            <a:ext cx="1052510" cy="365125"/>
          </a:xfrm>
        </p:spPr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66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641350"/>
            <a:ext cx="11290859" cy="365124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998148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8DB4A-8810-4A10-AD5C-D5E2C667F5B3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89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2"/>
            <a:ext cx="11029616" cy="3652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D291B17-9318-49DB-B28B-6E5994AE9581}" type="datetime1">
              <a:rPr lang="en-US" smtClean="0"/>
              <a:t>1/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000897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11" r:id="rId5"/>
    <p:sldLayoutId id="2147483760" r:id="rId6"/>
    <p:sldLayoutId id="2147483762" r:id="rId7"/>
    <p:sldLayoutId id="2147483706" r:id="rId8"/>
    <p:sldLayoutId id="2147483709" r:id="rId9"/>
    <p:sldLayoutId id="2147483707" r:id="rId10"/>
    <p:sldLayoutId id="2147483708" r:id="rId11"/>
  </p:sldLayoutIdLst>
  <p:hf sldNum="0"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800" b="0" kern="1200" cap="all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lnSpc>
          <a:spcPct val="110000"/>
        </a:lnSpc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117" Type="http://schemas.openxmlformats.org/officeDocument/2006/relationships/tags" Target="../tags/tag120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84" Type="http://schemas.openxmlformats.org/officeDocument/2006/relationships/tags" Target="../tags/tag87.xml"/><Relationship Id="rId89" Type="http://schemas.openxmlformats.org/officeDocument/2006/relationships/tags" Target="../tags/tag92.xml"/><Relationship Id="rId112" Type="http://schemas.openxmlformats.org/officeDocument/2006/relationships/tags" Target="../tags/tag115.xml"/><Relationship Id="rId16" Type="http://schemas.openxmlformats.org/officeDocument/2006/relationships/tags" Target="../tags/tag19.xml"/><Relationship Id="rId107" Type="http://schemas.openxmlformats.org/officeDocument/2006/relationships/tags" Target="../tags/tag110.xml"/><Relationship Id="rId11" Type="http://schemas.openxmlformats.org/officeDocument/2006/relationships/tags" Target="../tags/tag14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74" Type="http://schemas.openxmlformats.org/officeDocument/2006/relationships/tags" Target="../tags/tag77.xml"/><Relationship Id="rId79" Type="http://schemas.openxmlformats.org/officeDocument/2006/relationships/tags" Target="../tags/tag82.xml"/><Relationship Id="rId102" Type="http://schemas.openxmlformats.org/officeDocument/2006/relationships/tags" Target="../tags/tag105.xml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82" Type="http://schemas.openxmlformats.org/officeDocument/2006/relationships/tags" Target="../tags/tag85.xml"/><Relationship Id="rId90" Type="http://schemas.openxmlformats.org/officeDocument/2006/relationships/tags" Target="../tags/tag93.xml"/><Relationship Id="rId95" Type="http://schemas.openxmlformats.org/officeDocument/2006/relationships/tags" Target="../tags/tag98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tags" Target="../tags/tag80.xml"/><Relationship Id="rId100" Type="http://schemas.openxmlformats.org/officeDocument/2006/relationships/tags" Target="../tags/tag103.xml"/><Relationship Id="rId105" Type="http://schemas.openxmlformats.org/officeDocument/2006/relationships/tags" Target="../tags/tag108.xml"/><Relationship Id="rId113" Type="http://schemas.openxmlformats.org/officeDocument/2006/relationships/tags" Target="../tags/tag116.xml"/><Relationship Id="rId118" Type="http://schemas.openxmlformats.org/officeDocument/2006/relationships/tags" Target="../tags/tag121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80" Type="http://schemas.openxmlformats.org/officeDocument/2006/relationships/tags" Target="../tags/tag83.xml"/><Relationship Id="rId85" Type="http://schemas.openxmlformats.org/officeDocument/2006/relationships/tags" Target="../tags/tag88.xml"/><Relationship Id="rId93" Type="http://schemas.openxmlformats.org/officeDocument/2006/relationships/tags" Target="../tags/tag96.xml"/><Relationship Id="rId98" Type="http://schemas.openxmlformats.org/officeDocument/2006/relationships/tags" Target="../tags/tag101.xml"/><Relationship Id="rId121" Type="http://schemas.openxmlformats.org/officeDocument/2006/relationships/slideLayout" Target="../slideLayouts/slideLayout6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103" Type="http://schemas.openxmlformats.org/officeDocument/2006/relationships/tags" Target="../tags/tag106.xml"/><Relationship Id="rId108" Type="http://schemas.openxmlformats.org/officeDocument/2006/relationships/tags" Target="../tags/tag111.xml"/><Relationship Id="rId116" Type="http://schemas.openxmlformats.org/officeDocument/2006/relationships/tags" Target="../tags/tag119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tags" Target="../tags/tag86.xml"/><Relationship Id="rId88" Type="http://schemas.openxmlformats.org/officeDocument/2006/relationships/tags" Target="../tags/tag91.xml"/><Relationship Id="rId91" Type="http://schemas.openxmlformats.org/officeDocument/2006/relationships/tags" Target="../tags/tag94.xml"/><Relationship Id="rId96" Type="http://schemas.openxmlformats.org/officeDocument/2006/relationships/tags" Target="../tags/tag99.xml"/><Relationship Id="rId111" Type="http://schemas.openxmlformats.org/officeDocument/2006/relationships/tags" Target="../tags/tag114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6" Type="http://schemas.openxmlformats.org/officeDocument/2006/relationships/tags" Target="../tags/tag109.xml"/><Relationship Id="rId114" Type="http://schemas.openxmlformats.org/officeDocument/2006/relationships/tags" Target="../tags/tag117.xml"/><Relationship Id="rId119" Type="http://schemas.openxmlformats.org/officeDocument/2006/relationships/tags" Target="../tags/tag122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tags" Target="../tags/tag81.xml"/><Relationship Id="rId81" Type="http://schemas.openxmlformats.org/officeDocument/2006/relationships/tags" Target="../tags/tag84.xml"/><Relationship Id="rId86" Type="http://schemas.openxmlformats.org/officeDocument/2006/relationships/tags" Target="../tags/tag89.xml"/><Relationship Id="rId94" Type="http://schemas.openxmlformats.org/officeDocument/2006/relationships/tags" Target="../tags/tag97.xml"/><Relationship Id="rId99" Type="http://schemas.openxmlformats.org/officeDocument/2006/relationships/tags" Target="../tags/tag102.xml"/><Relationship Id="rId101" Type="http://schemas.openxmlformats.org/officeDocument/2006/relationships/tags" Target="../tags/tag10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109" Type="http://schemas.openxmlformats.org/officeDocument/2006/relationships/tags" Target="../tags/tag11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tags" Target="../tags/tag79.xml"/><Relationship Id="rId97" Type="http://schemas.openxmlformats.org/officeDocument/2006/relationships/tags" Target="../tags/tag100.xml"/><Relationship Id="rId104" Type="http://schemas.openxmlformats.org/officeDocument/2006/relationships/tags" Target="../tags/tag107.xml"/><Relationship Id="rId120" Type="http://schemas.openxmlformats.org/officeDocument/2006/relationships/tags" Target="../tags/tag123.xml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92" Type="http://schemas.openxmlformats.org/officeDocument/2006/relationships/tags" Target="../tags/tag95.xml"/><Relationship Id="rId2" Type="http://schemas.openxmlformats.org/officeDocument/2006/relationships/tags" Target="../tags/tag5.xml"/><Relationship Id="rId29" Type="http://schemas.openxmlformats.org/officeDocument/2006/relationships/tags" Target="../tags/tag32.xml"/><Relationship Id="rId24" Type="http://schemas.openxmlformats.org/officeDocument/2006/relationships/tags" Target="../tags/tag27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66" Type="http://schemas.openxmlformats.org/officeDocument/2006/relationships/tags" Target="../tags/tag69.xml"/><Relationship Id="rId87" Type="http://schemas.openxmlformats.org/officeDocument/2006/relationships/tags" Target="../tags/tag90.xml"/><Relationship Id="rId110" Type="http://schemas.openxmlformats.org/officeDocument/2006/relationships/tags" Target="../tags/tag113.xml"/><Relationship Id="rId115" Type="http://schemas.openxmlformats.org/officeDocument/2006/relationships/tags" Target="../tags/tag1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D288F0F8-0A5E-423F-981B-1DD0F80C7E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E51D42D-FC2B-4804-8C86-09DE204AB4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5422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8F6937D-DCF1-4939-8FF9-3A95710F9E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4341" y="457200"/>
            <a:ext cx="7488936" cy="91440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3299CC6-6A61-4D28-8E30-22B07D7859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4391" y="641102"/>
            <a:ext cx="3695019" cy="282703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281D2FB-C730-485D-A009-EDCDF26B55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5134" y="3557674"/>
            <a:ext cx="3695019" cy="282703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0E01980-6B3C-40B6-9701-38B5908B9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6851" y="638175"/>
            <a:ext cx="7485542" cy="5752390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21E816-31F5-48BB-BD02-D15F2F18B4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9243" y="1419225"/>
            <a:ext cx="6798608" cy="2085869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Support </a:t>
            </a:r>
            <a:r>
              <a:rPr lang="en-US" dirty="0" err="1">
                <a:solidFill>
                  <a:srgbClr val="FFFFFF"/>
                </a:solidFill>
              </a:rPr>
              <a:t>isobmff</a:t>
            </a:r>
            <a:r>
              <a:rPr lang="en-US" dirty="0">
                <a:solidFill>
                  <a:srgbClr val="FFFFFF"/>
                </a:solidFill>
              </a:rPr>
              <a:t> and CR3 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dirty="0">
                <a:solidFill>
                  <a:srgbClr val="FFFFFF"/>
                </a:solidFill>
              </a:rPr>
              <a:t>in Exiv2 &amp; Darktable </a:t>
            </a:r>
            <a:br>
              <a:rPr lang="en-US" dirty="0">
                <a:solidFill>
                  <a:srgbClr val="FFFFFF"/>
                </a:solidFill>
              </a:rPr>
            </a:b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5D6E6B-3353-491C-A3C6-F278D6CED8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9243" y="3505095"/>
            <a:ext cx="6798608" cy="173365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>
                    <a:alpha val="75000"/>
                  </a:srgbClr>
                </a:solidFill>
              </a:rPr>
              <a:t>2021-01-09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45BBB071-BE15-4861-A9BD-6D5DD0E0C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182" y="1134952"/>
            <a:ext cx="3032063" cy="1838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9A005088-9D73-4B3C-A32E-C05D21713F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280"/>
          <a:stretch/>
        </p:blipFill>
        <p:spPr bwMode="auto">
          <a:xfrm>
            <a:off x="1523024" y="3982544"/>
            <a:ext cx="1794520" cy="160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0F77E90-BE3D-4F9B-B3FF-0BE90613BA49}"/>
              </a:ext>
            </a:extLst>
          </p:cNvPr>
          <p:cNvSpPr/>
          <p:nvPr/>
        </p:nvSpPr>
        <p:spPr>
          <a:xfrm>
            <a:off x="1278844" y="5499620"/>
            <a:ext cx="203870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rktable</a:t>
            </a:r>
          </a:p>
        </p:txBody>
      </p:sp>
    </p:spTree>
    <p:extLst>
      <p:ext uri="{BB962C8B-B14F-4D97-AF65-F5344CB8AC3E}">
        <p14:creationId xmlns:p14="http://schemas.microsoft.com/office/powerpoint/2010/main" val="2475805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0A9F86A-B12B-4FFD-AB4C-BC78AE4D7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789890"/>
            <a:ext cx="11029615" cy="460118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b="1" dirty="0"/>
              <a:t>Status Quo</a:t>
            </a:r>
          </a:p>
          <a:p>
            <a:r>
              <a:rPr lang="en-US" sz="1500" dirty="0"/>
              <a:t>Exiv2 provides image metadata read/modify/write support for many applications.</a:t>
            </a:r>
          </a:p>
          <a:p>
            <a:r>
              <a:rPr lang="en-US" sz="1500" dirty="0"/>
              <a:t>Exiv2 current ISOBMFF support is JP2</a:t>
            </a:r>
          </a:p>
          <a:p>
            <a:r>
              <a:rPr lang="en-US" sz="1500" dirty="0"/>
              <a:t>The ISOBMFF code in “Image Metadata &amp; Exiv2 Architecture” supports JP2, CR3, HEIC, AVIF</a:t>
            </a:r>
          </a:p>
          <a:p>
            <a:r>
              <a:rPr lang="en-US" sz="1500" dirty="0"/>
              <a:t>Legal Situation for reading CR3 and HEIC is unclear (for both metadata and graphics)</a:t>
            </a:r>
          </a:p>
          <a:p>
            <a:r>
              <a:rPr lang="en-US" sz="1500" dirty="0"/>
              <a:t>Proposed Exiv2 v0.27.4 to port JP2, CR3, HEIC and AVIF from book to Exiv2.</a:t>
            </a:r>
          </a:p>
          <a:p>
            <a:r>
              <a:rPr lang="en-US" sz="1500" dirty="0"/>
              <a:t>The code in the book reads unencrypted data as specified in the ISO standard.</a:t>
            </a:r>
          </a:p>
          <a:p>
            <a:r>
              <a:rPr lang="en-US" sz="1500" dirty="0"/>
              <a:t>darktable has a dependency on a new release of Exiv2 in order to provide support for file format such as Canon CR3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Way forward:</a:t>
            </a:r>
          </a:p>
          <a:p>
            <a:r>
              <a:rPr lang="en-US" sz="1400" dirty="0"/>
              <a:t>Task force to be establish in order to bring support for CR3 files and other into Exiv2</a:t>
            </a:r>
          </a:p>
          <a:p>
            <a:r>
              <a:rPr lang="en-US" sz="1400" dirty="0"/>
              <a:t>Commitment of engineers to participate in task force and aligned timeline</a:t>
            </a:r>
          </a:p>
          <a:p>
            <a:endParaRPr lang="en-US" sz="1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7F96668-9C4D-4D15-8FD2-8DC6CEC85875}"/>
              </a:ext>
            </a:extLst>
          </p:cNvPr>
          <p:cNvSpPr txBox="1">
            <a:spLocks/>
          </p:cNvSpPr>
          <p:nvPr/>
        </p:nvSpPr>
        <p:spPr>
          <a:xfrm>
            <a:off x="575894" y="729658"/>
            <a:ext cx="11029616" cy="9883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Problem statement</a:t>
            </a:r>
          </a:p>
        </p:txBody>
      </p:sp>
    </p:spTree>
    <p:extLst>
      <p:ext uri="{BB962C8B-B14F-4D97-AF65-F5344CB8AC3E}">
        <p14:creationId xmlns:p14="http://schemas.microsoft.com/office/powerpoint/2010/main" val="485570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05417-23E7-4A8C-8100-5965DB258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iv2 tasks</a:t>
            </a:r>
          </a:p>
        </p:txBody>
      </p:sp>
      <p:graphicFrame>
        <p:nvGraphicFramePr>
          <p:cNvPr id="3" name="Content Placeholder 6">
            <a:extLst>
              <a:ext uri="{FF2B5EF4-FFF2-40B4-BE49-F238E27FC236}">
                <a16:creationId xmlns:a16="http://schemas.microsoft.com/office/drawing/2014/main" id="{1CD6F20B-CC12-4746-9DA7-9D543F73605B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723103"/>
              </p:ext>
            </p:extLst>
          </p:nvPr>
        </p:nvGraphicFramePr>
        <p:xfrm>
          <a:off x="575893" y="2017800"/>
          <a:ext cx="11029615" cy="3453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721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87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787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2800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Milestones</a:t>
                      </a:r>
                    </a:p>
                  </a:txBody>
                  <a:tcPr marL="46800" marR="46800" marT="72000" marB="72000" anchor="ctr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Responsibility</a:t>
                      </a:r>
                    </a:p>
                  </a:txBody>
                  <a:tcPr marL="46800" marR="46800" marT="72000" marB="72000" anchor="ctr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Due Date</a:t>
                      </a:r>
                    </a:p>
                  </a:txBody>
                  <a:tcPr marL="46800" marR="46800" marT="72000" marB="72000" anchor="ctr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Port code from book to Exiv2 v0.27-maintenance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Jesus &amp; Peter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2021-02-28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First Release Candidate Exiv2 v0.27.4 RC1 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Robin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2021-03-31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172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Exiv2 v0.27.4 GM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Robin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2021-04-30 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4220377"/>
                  </a:ext>
                </a:extLst>
              </a:tr>
              <a:tr h="24132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4498322"/>
                  </a:ext>
                </a:extLst>
              </a:tr>
              <a:tr h="19092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013725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09618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662218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0930680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endParaRPr lang="en-US" sz="1300" b="1" dirty="0">
                        <a:solidFill>
                          <a:srgbClr val="5E5E5E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b="1" dirty="0">
                        <a:solidFill>
                          <a:srgbClr val="5E5E5E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b="1" dirty="0">
                          <a:solidFill>
                            <a:srgbClr val="5E5E5E"/>
                          </a:solidFill>
                        </a:rPr>
                        <a:t> 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8946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05417-23E7-4A8C-8100-5965DB258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RKTABLE &amp; </a:t>
            </a:r>
            <a:r>
              <a:rPr lang="en-US" dirty="0" err="1"/>
              <a:t>RAWspeed</a:t>
            </a:r>
            <a:r>
              <a:rPr lang="en-US" dirty="0"/>
              <a:t> tasks</a:t>
            </a:r>
          </a:p>
        </p:txBody>
      </p:sp>
      <p:graphicFrame>
        <p:nvGraphicFramePr>
          <p:cNvPr id="3" name="Content Placeholder 6">
            <a:extLst>
              <a:ext uri="{FF2B5EF4-FFF2-40B4-BE49-F238E27FC236}">
                <a16:creationId xmlns:a16="http://schemas.microsoft.com/office/drawing/2014/main" id="{F9667B74-DB1C-4486-9AFD-6B628F759D02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938147"/>
              </p:ext>
            </p:extLst>
          </p:nvPr>
        </p:nvGraphicFramePr>
        <p:xfrm>
          <a:off x="575893" y="2017800"/>
          <a:ext cx="11029615" cy="3453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721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87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787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2800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Milestones</a:t>
                      </a:r>
                    </a:p>
                  </a:txBody>
                  <a:tcPr marL="46800" marR="46800" marT="72000" marB="72000" anchor="ctr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Responsibility</a:t>
                      </a:r>
                    </a:p>
                  </a:txBody>
                  <a:tcPr marL="46800" marR="46800" marT="72000" marB="72000" anchor="ctr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b="1" dirty="0">
                          <a:solidFill>
                            <a:schemeClr val="tx1"/>
                          </a:solidFill>
                        </a:rPr>
                        <a:t>Due Date</a:t>
                      </a:r>
                    </a:p>
                  </a:txBody>
                  <a:tcPr marL="46800" marR="46800" marT="72000" marB="72000" anchor="ctr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CR3 support in </a:t>
                      </a:r>
                      <a:r>
                        <a:rPr lang="en-US" sz="1300" dirty="0" err="1">
                          <a:solidFill>
                            <a:srgbClr val="0078DC"/>
                          </a:solidFill>
                        </a:rPr>
                        <a:t>RawSpeed</a:t>
                      </a:r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TBD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2021-MM-DD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Exiv2 0.27.4 integration in darktable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TBD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300" dirty="0">
                          <a:solidFill>
                            <a:srgbClr val="0078DC"/>
                          </a:solidFill>
                        </a:rPr>
                        <a:t>2021-MM-DD</a:t>
                      </a: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172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4220377"/>
                  </a:ext>
                </a:extLst>
              </a:tr>
              <a:tr h="24132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4498322"/>
                  </a:ext>
                </a:extLst>
              </a:tr>
              <a:tr h="19092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013725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09618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662218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dirty="0">
                        <a:solidFill>
                          <a:srgbClr val="0078DC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0930680"/>
                  </a:ext>
                </a:extLst>
              </a:tr>
              <a:tr h="352800">
                <a:tc>
                  <a:txBody>
                    <a:bodyPr/>
                    <a:lstStyle/>
                    <a:p>
                      <a:r>
                        <a:rPr lang="en-US" sz="1300" b="1">
                          <a:solidFill>
                            <a:srgbClr val="5E5E5E"/>
                          </a:solidFill>
                        </a:rPr>
                        <a:t> </a:t>
                      </a:r>
                      <a:endParaRPr lang="en-US" sz="1300" b="1" dirty="0">
                        <a:solidFill>
                          <a:srgbClr val="5E5E5E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b="1" dirty="0">
                        <a:solidFill>
                          <a:srgbClr val="5E5E5E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300" b="1" dirty="0">
                        <a:solidFill>
                          <a:srgbClr val="5E5E5E"/>
                        </a:solidFill>
                      </a:endParaRPr>
                    </a:p>
                  </a:txBody>
                  <a:tcPr marL="46800" marR="46800" marT="72000" marB="72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41653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05417-23E7-4A8C-8100-5965DB258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gal Issue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20B4FEE-120F-4A99-B9E1-81685676CC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1070046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22104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B92BE2-5C98-4C73-9526-B2987D578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potentials Block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5CC666-0C55-4B4E-A4B2-8AD08AD0FF22}"/>
              </a:ext>
            </a:extLst>
          </p:cNvPr>
          <p:cNvSpPr/>
          <p:nvPr/>
        </p:nvSpPr>
        <p:spPr>
          <a:xfrm>
            <a:off x="5068627" y="1464173"/>
            <a:ext cx="2044149" cy="45089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7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560225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D70F2F-0B75-421D-B5F9-98F2535492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tb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0BE1479-C6F5-416B-8766-1C75BDC38190}"/>
              </a:ext>
            </a:extLst>
          </p:cNvPr>
          <p:cNvSpPr txBox="1">
            <a:spLocks/>
          </p:cNvSpPr>
          <p:nvPr/>
        </p:nvSpPr>
        <p:spPr>
          <a:xfrm>
            <a:off x="575894" y="729658"/>
            <a:ext cx="11029616" cy="9883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Decisions &amp; Actions</a:t>
            </a:r>
          </a:p>
        </p:txBody>
      </p:sp>
    </p:spTree>
    <p:extLst>
      <p:ext uri="{BB962C8B-B14F-4D97-AF65-F5344CB8AC3E}">
        <p14:creationId xmlns:p14="http://schemas.microsoft.com/office/powerpoint/2010/main" val="2535000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hteck 7">
            <a:extLst>
              <a:ext uri="{FF2B5EF4-FFF2-40B4-BE49-F238E27FC236}">
                <a16:creationId xmlns:a16="http://schemas.microsoft.com/office/drawing/2014/main" id="{BC8432D5-073A-475E-9260-AFB97E680D51}"/>
              </a:ext>
            </a:extLst>
          </p:cNvPr>
          <p:cNvSpPr>
            <a:spLocks noGrp="1" noRot="1" noEditPoints="1" noAdjustHandles="1" noChangeArrowheads="1" noChangeShapeType="1"/>
          </p:cNvSpPr>
          <p:nvPr>
            <p:custDataLst>
              <p:tags r:id="rId1"/>
            </p:custDataLst>
          </p:nvPr>
        </p:nvSpPr>
        <p:spPr>
          <a:xfrm>
            <a:off x="583111" y="1909529"/>
            <a:ext cx="11166973" cy="4591299"/>
          </a:xfrm>
          <a:prstGeom prst="rect">
            <a:avLst/>
          </a:prstGeom>
          <a:solidFill>
            <a:srgbClr val="1482AC">
              <a:alpha val="0"/>
            </a:srgbClr>
          </a:solidFill>
          <a:ln w="0" cap="flat" cmpd="sng" algn="ctr">
            <a:solidFill>
              <a:prstClr val="black">
                <a:alpha val="0"/>
              </a:prst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>
                <a:solidFill>
                  <a:schemeClr val="tx1"/>
                </a:solidFill>
                <a:cs typeface="Segoe UI Light" panose="020B0502040204020203" pitchFamily="34" charset="0"/>
              </a:rPr>
              <a:t>​</a:t>
            </a:r>
            <a:endParaRPr lang="en-US" sz="1200" b="1" i="0" u="none" baseline="0" dirty="0">
              <a:solidFill>
                <a:schemeClr val="tx1"/>
              </a:solidFill>
              <a:cs typeface="Segoe UI Light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305417-23E7-4A8C-8100-5965DB258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timeline</a:t>
            </a:r>
          </a:p>
        </p:txBody>
      </p: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28048CAC-42FC-440C-BC07-B1DCA6409F2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83057" y="1909572"/>
            <a:ext cx="11166983" cy="4591304"/>
            <a:chOff x="583057" y="1909572"/>
            <a:chExt cx="11166983" cy="4591304"/>
          </a:xfrm>
        </p:grpSpPr>
        <p:sp>
          <p:nvSpPr>
            <p:cNvPr id="84" name="Rectangle 83" hidden="1">
              <a:extLst>
                <a:ext uri="{FF2B5EF4-FFF2-40B4-BE49-F238E27FC236}">
                  <a16:creationId xmlns:a16="http://schemas.microsoft.com/office/drawing/2014/main" id="{688EDD7B-F330-44A3-82C8-756AFD4EBEA5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172391" y="4211066"/>
              <a:ext cx="12700" cy="12700"/>
            </a:xfrm>
            <a:prstGeom prst="rect">
              <a:avLst/>
            </a:prstGeom>
            <a:noFill/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tangle 84" hidden="1">
              <a:extLst>
                <a:ext uri="{FF2B5EF4-FFF2-40B4-BE49-F238E27FC236}">
                  <a16:creationId xmlns:a16="http://schemas.microsoft.com/office/drawing/2014/main" id="{424D6F06-E76E-4EEF-B33C-4114280A86A6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6166548" y="4205224"/>
              <a:ext cx="0" cy="0"/>
            </a:xfrm>
            <a:prstGeom prst="rect">
              <a:avLst/>
            </a:prstGeom>
            <a:noFill/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TextBox 85" hidden="1">
              <a:extLst>
                <a:ext uri="{FF2B5EF4-FFF2-40B4-BE49-F238E27FC236}">
                  <a16:creationId xmlns:a16="http://schemas.microsoft.com/office/drawing/2014/main" id="{16BEEDF9-738E-4E1A-AD53-2A5751B0717F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6166548" y="4205224"/>
              <a:ext cx="0" cy="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87" name="Rectangle 86" hidden="1">
              <a:extLst>
                <a:ext uri="{FF2B5EF4-FFF2-40B4-BE49-F238E27FC236}">
                  <a16:creationId xmlns:a16="http://schemas.microsoft.com/office/drawing/2014/main" id="{3666F14A-4A17-474A-8E6A-F7AA94E8EE7F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6166548" y="4205224"/>
              <a:ext cx="0" cy="0"/>
            </a:xfrm>
            <a:prstGeom prst="rect">
              <a:avLst/>
            </a:prstGeom>
            <a:noFill/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TextBox 87" hidden="1">
              <a:extLst>
                <a:ext uri="{FF2B5EF4-FFF2-40B4-BE49-F238E27FC236}">
                  <a16:creationId xmlns:a16="http://schemas.microsoft.com/office/drawing/2014/main" id="{E0737AA0-2030-4384-AC31-FDF9A5BE507F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6166548" y="4205224"/>
              <a:ext cx="0" cy="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89" name="Rectangle 88" hidden="1">
              <a:extLst>
                <a:ext uri="{FF2B5EF4-FFF2-40B4-BE49-F238E27FC236}">
                  <a16:creationId xmlns:a16="http://schemas.microsoft.com/office/drawing/2014/main" id="{8F345D83-D38C-4269-8EF3-7F24DE081EA2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6166548" y="4205224"/>
              <a:ext cx="0" cy="0"/>
            </a:xfrm>
            <a:prstGeom prst="rect">
              <a:avLst/>
            </a:prstGeom>
            <a:noFill/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TextBox 89" hidden="1">
              <a:extLst>
                <a:ext uri="{FF2B5EF4-FFF2-40B4-BE49-F238E27FC236}">
                  <a16:creationId xmlns:a16="http://schemas.microsoft.com/office/drawing/2014/main" id="{D6C02960-4AE1-4336-AF85-EBEB5CB5CB13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6166548" y="4205224"/>
              <a:ext cx="0" cy="0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rtlCol="0">
              <a:spAutoFit/>
            </a:bodyPr>
            <a:lstStyle/>
            <a:p>
              <a:endParaRPr lang="en-US"/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5F830E7F-45E2-42EC-997B-D239B8A913F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83057" y="1909572"/>
              <a:ext cx="11166982" cy="4591304"/>
            </a:xfrm>
            <a:prstGeom prst="rect">
              <a:avLst/>
            </a:prstGeom>
            <a:solidFill>
              <a:srgbClr val="FFFFFF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1D8BDEDA-5BFE-413E-9C2A-40DDCF00461E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904417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C2D6014-6C83-4C1A-AE40-0927BD276F49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2710492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BBEA49E3-5129-4607-8EF3-1AF9F7F7035A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3516566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5A6EFF17-426D-4CA0-8F37-A7749763B959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322640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46C1AEA9-51B1-49B8-A192-93B37FFCB5BF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5128715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0ED3A72-D10D-467A-B9B0-13178A868D6C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5934789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2AEBEE2-017D-4323-A518-5CBA1C603085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6740864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2D229047-4798-4595-9328-1A376FB4798F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546938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2CE8D1ED-5211-4010-916E-35BB2DAC0895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8353012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39FFC967-AB56-458A-A209-2079685F86D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9159087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8869FBAB-FD3E-4AEA-A011-6EF06EE67D7B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9965161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8F7A5EF0-2ADC-4918-9C66-E9D7F7B9EA2A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10771235" y="2288468"/>
              <a:ext cx="403037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77D43BAB-25EC-420E-B502-E16C83CB5DE2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11577310" y="2288468"/>
              <a:ext cx="172730" cy="4212408"/>
            </a:xfrm>
            <a:prstGeom prst="rect">
              <a:avLst/>
            </a:prstGeom>
            <a:solidFill>
              <a:srgbClr val="F1F1F1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2062D57-53FC-4306-B037-7094B3B34728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1733275" y="1911160"/>
              <a:ext cx="1378667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January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77E3E62-113E-4E5B-8A43-AF1A12D122D0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3115116" y="1911160"/>
              <a:ext cx="160897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February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6B921DE2-6674-4F7E-AA55-C301F8A48696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4727265" y="1911160"/>
              <a:ext cx="178170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March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B51BA9E-1235-40C7-9151-50E76FD772CF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6512144" y="1911160"/>
              <a:ext cx="1724127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April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112B41A-480E-4753-BEA4-50B4DF591708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1733275" y="2100608"/>
              <a:ext cx="169555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4E207037-9A6D-4215-B472-CC909A6BDABF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1906005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2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967E3341-B51B-4F1F-964D-F39D704BE6D6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2309042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3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910229A8-B98A-4109-BF1F-98112DF5F7B9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2712079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4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C492F079-AD37-44B4-8888-B0EA0D735910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3115116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5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D063D6B3-D71E-41FD-8CA7-36DF2FA2E3CA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3518153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6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3D0E143-CD9B-491D-A189-C35AEBA4C7C9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3921191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7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837B1AE5-885F-45FE-A3E3-708A7B481961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4324228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8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90DCBEB6-1C87-44FF-A8C2-EEE9F3768BB2}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>
            <a:xfrm>
              <a:off x="4727265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9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3106131-94FC-46E6-9847-4336790B069F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>
            <a:xfrm>
              <a:off x="5130302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0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02F2B0E-3178-48CF-976F-A72C9D24BBF5}"/>
                </a:ext>
              </a:extLst>
            </p:cNvPr>
            <p:cNvSpPr txBox="1"/>
            <p:nvPr>
              <p:custDataLst>
                <p:tags r:id="rId38"/>
              </p:custDataLst>
            </p:nvPr>
          </p:nvSpPr>
          <p:spPr>
            <a:xfrm>
              <a:off x="5533339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1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687DF83D-465F-46EF-852C-C02E3DA615BB}"/>
                </a:ext>
              </a:extLst>
            </p:cNvPr>
            <p:cNvSpPr txBox="1"/>
            <p:nvPr>
              <p:custDataLst>
                <p:tags r:id="rId39"/>
              </p:custDataLst>
            </p:nvPr>
          </p:nvSpPr>
          <p:spPr>
            <a:xfrm>
              <a:off x="5936376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2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AC909551-F940-41F9-953E-01C92C9B2156}"/>
                </a:ext>
              </a:extLst>
            </p:cNvPr>
            <p:cNvSpPr txBox="1"/>
            <p:nvPr>
              <p:custDataLst>
                <p:tags r:id="rId40"/>
              </p:custDataLst>
            </p:nvPr>
          </p:nvSpPr>
          <p:spPr>
            <a:xfrm>
              <a:off x="6339414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3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09AAF65-D138-4761-A5A3-F219FB4C2131}"/>
                </a:ext>
              </a:extLst>
            </p:cNvPr>
            <p:cNvSpPr txBox="1"/>
            <p:nvPr>
              <p:custDataLst>
                <p:tags r:id="rId41"/>
              </p:custDataLst>
            </p:nvPr>
          </p:nvSpPr>
          <p:spPr>
            <a:xfrm>
              <a:off x="6742451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4</a:t>
              </a:r>
            </a:p>
          </p:txBody>
        </p:sp>
        <p:sp>
          <p:nvSpPr>
            <p:cNvPr id="117" name="Rectangle 116" hidden="1">
              <a:extLst>
                <a:ext uri="{FF2B5EF4-FFF2-40B4-BE49-F238E27FC236}">
                  <a16:creationId xmlns:a16="http://schemas.microsoft.com/office/drawing/2014/main" id="{29C8A7E0-DA86-43D2-9090-09CAAFEE1668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583057" y="2288468"/>
              <a:ext cx="11166982" cy="19424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Rectangle 117" hidden="1">
              <a:extLst>
                <a:ext uri="{FF2B5EF4-FFF2-40B4-BE49-F238E27FC236}">
                  <a16:creationId xmlns:a16="http://schemas.microsoft.com/office/drawing/2014/main" id="{F690E0BB-6444-416F-BDCE-30274F12CB94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583057" y="3698954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Rectangle 118" hidden="1">
              <a:extLst>
                <a:ext uri="{FF2B5EF4-FFF2-40B4-BE49-F238E27FC236}">
                  <a16:creationId xmlns:a16="http://schemas.microsoft.com/office/drawing/2014/main" id="{35337BA4-27DC-45CF-BB42-4A1BEC2C03DC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583057" y="5103090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Rectangle 119" hidden="1">
              <a:extLst>
                <a:ext uri="{FF2B5EF4-FFF2-40B4-BE49-F238E27FC236}">
                  <a16:creationId xmlns:a16="http://schemas.microsoft.com/office/drawing/2014/main" id="{9365215F-5EA8-4B8D-A95D-B9669CA5F5C7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583057" y="2495409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Rectangle 120" hidden="1">
              <a:extLst>
                <a:ext uri="{FF2B5EF4-FFF2-40B4-BE49-F238E27FC236}">
                  <a16:creationId xmlns:a16="http://schemas.microsoft.com/office/drawing/2014/main" id="{C4173349-B5E7-4332-A297-C6AB86CF0D20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583057" y="2696000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 121" hidden="1">
              <a:extLst>
                <a:ext uri="{FF2B5EF4-FFF2-40B4-BE49-F238E27FC236}">
                  <a16:creationId xmlns:a16="http://schemas.microsoft.com/office/drawing/2014/main" id="{430AE793-92C1-4C9E-9977-3FAA4FFBD82A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583057" y="2896591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122" hidden="1">
              <a:extLst>
                <a:ext uri="{FF2B5EF4-FFF2-40B4-BE49-F238E27FC236}">
                  <a16:creationId xmlns:a16="http://schemas.microsoft.com/office/drawing/2014/main" id="{C833ED9A-B278-4A68-A837-7821E650456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583057" y="3097182"/>
              <a:ext cx="11166982" cy="187890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 123" hidden="1">
              <a:extLst>
                <a:ext uri="{FF2B5EF4-FFF2-40B4-BE49-F238E27FC236}">
                  <a16:creationId xmlns:a16="http://schemas.microsoft.com/office/drawing/2014/main" id="{8C3DC895-5336-4BDA-8F62-6AB6C9668D10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583057" y="3297772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24" hidden="1">
              <a:extLst>
                <a:ext uri="{FF2B5EF4-FFF2-40B4-BE49-F238E27FC236}">
                  <a16:creationId xmlns:a16="http://schemas.microsoft.com/office/drawing/2014/main" id="{1D4C3B4E-BC42-464F-B5E3-34E77A9E9F6C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583057" y="3498363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Rectangle 125" hidden="1">
              <a:extLst>
                <a:ext uri="{FF2B5EF4-FFF2-40B4-BE49-F238E27FC236}">
                  <a16:creationId xmlns:a16="http://schemas.microsoft.com/office/drawing/2014/main" id="{2581ACB6-2354-44FA-A8AB-05902CD99D85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583057" y="3899545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tangle 126" hidden="1">
              <a:extLst>
                <a:ext uri="{FF2B5EF4-FFF2-40B4-BE49-F238E27FC236}">
                  <a16:creationId xmlns:a16="http://schemas.microsoft.com/office/drawing/2014/main" id="{609A7284-28D3-4F6B-B5E2-72D139E5B195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583057" y="4100136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tangle 127" hidden="1">
              <a:extLst>
                <a:ext uri="{FF2B5EF4-FFF2-40B4-BE49-F238E27FC236}">
                  <a16:creationId xmlns:a16="http://schemas.microsoft.com/office/drawing/2014/main" id="{C530A484-3EEA-4D76-8090-2323EFB23C6F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>
            <a:xfrm>
              <a:off x="583057" y="4300727"/>
              <a:ext cx="11166982" cy="187890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tangle 128" hidden="1">
              <a:extLst>
                <a:ext uri="{FF2B5EF4-FFF2-40B4-BE49-F238E27FC236}">
                  <a16:creationId xmlns:a16="http://schemas.microsoft.com/office/drawing/2014/main" id="{74FBA123-CEC7-4DEA-A415-CC015E9DD7BA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583057" y="4501317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 129" hidden="1">
              <a:extLst>
                <a:ext uri="{FF2B5EF4-FFF2-40B4-BE49-F238E27FC236}">
                  <a16:creationId xmlns:a16="http://schemas.microsoft.com/office/drawing/2014/main" id="{430CBD2D-209D-432D-9DE3-B132673DDCA6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>
            <a:xfrm>
              <a:off x="583057" y="4701908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tangle 130" hidden="1">
              <a:extLst>
                <a:ext uri="{FF2B5EF4-FFF2-40B4-BE49-F238E27FC236}">
                  <a16:creationId xmlns:a16="http://schemas.microsoft.com/office/drawing/2014/main" id="{99C926A7-EA50-4FCA-8510-AD873A040595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583057" y="4902499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tangle 131" hidden="1">
              <a:extLst>
                <a:ext uri="{FF2B5EF4-FFF2-40B4-BE49-F238E27FC236}">
                  <a16:creationId xmlns:a16="http://schemas.microsoft.com/office/drawing/2014/main" id="{1DCC7B95-AE32-4AFE-9F59-7AE24F7C0D6E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>
            <a:xfrm>
              <a:off x="583057" y="5303681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tangle 132" hidden="1">
              <a:extLst>
                <a:ext uri="{FF2B5EF4-FFF2-40B4-BE49-F238E27FC236}">
                  <a16:creationId xmlns:a16="http://schemas.microsoft.com/office/drawing/2014/main" id="{2DBF2280-0DE0-4DFD-85B3-CD092DE5FE2C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583057" y="5504272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tangle 133" hidden="1">
              <a:extLst>
                <a:ext uri="{FF2B5EF4-FFF2-40B4-BE49-F238E27FC236}">
                  <a16:creationId xmlns:a16="http://schemas.microsoft.com/office/drawing/2014/main" id="{D98B990E-4FF8-4280-AF07-043F542EDCA2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>
            <a:xfrm>
              <a:off x="583057" y="5704863"/>
              <a:ext cx="11166982" cy="187890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tangle 134" hidden="1">
              <a:extLst>
                <a:ext uri="{FF2B5EF4-FFF2-40B4-BE49-F238E27FC236}">
                  <a16:creationId xmlns:a16="http://schemas.microsoft.com/office/drawing/2014/main" id="{969FB49A-9E02-42E3-AD33-7218E34B7671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>
            <a:xfrm>
              <a:off x="583057" y="5905453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 135" hidden="1">
              <a:extLst>
                <a:ext uri="{FF2B5EF4-FFF2-40B4-BE49-F238E27FC236}">
                  <a16:creationId xmlns:a16="http://schemas.microsoft.com/office/drawing/2014/main" id="{C773F430-F51D-4A0F-9ED9-CAF6E6FE3F8E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>
            <a:xfrm>
              <a:off x="583057" y="6106044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tangle 136" hidden="1">
              <a:extLst>
                <a:ext uri="{FF2B5EF4-FFF2-40B4-BE49-F238E27FC236}">
                  <a16:creationId xmlns:a16="http://schemas.microsoft.com/office/drawing/2014/main" id="{031EC7A3-86FA-447E-AB04-EDC2DC51D860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>
            <a:xfrm>
              <a:off x="583057" y="6306635"/>
              <a:ext cx="11166982" cy="187891"/>
            </a:xfrm>
            <a:prstGeom prst="rect">
              <a:avLst/>
            </a:prstGeom>
            <a:solidFill>
              <a:srgbClr val="45596E"/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50B5854C-BDD1-44BA-ADC0-F020242FFAB7}"/>
                </a:ext>
              </a:extLst>
            </p:cNvPr>
            <p:cNvSpPr txBox="1"/>
            <p:nvPr>
              <p:custDataLst>
                <p:tags r:id="rId63"/>
              </p:custDataLst>
            </p:nvPr>
          </p:nvSpPr>
          <p:spPr>
            <a:xfrm>
              <a:off x="8239446" y="1911160"/>
              <a:ext cx="1781704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May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F0EDE04C-6D41-4EFE-B034-82C2E13F3E4E}"/>
                </a:ext>
              </a:extLst>
            </p:cNvPr>
            <p:cNvSpPr txBox="1"/>
            <p:nvPr>
              <p:custDataLst>
                <p:tags r:id="rId64"/>
              </p:custDataLst>
            </p:nvPr>
          </p:nvSpPr>
          <p:spPr>
            <a:xfrm>
              <a:off x="10024325" y="1911160"/>
              <a:ext cx="1724127" cy="18627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June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FB62B584-F0D0-471A-8E6B-CDA9EA3E9C9F}"/>
                </a:ext>
              </a:extLst>
            </p:cNvPr>
            <p:cNvSpPr txBox="1"/>
            <p:nvPr>
              <p:custDataLst>
                <p:tags r:id="rId65"/>
              </p:custDataLst>
            </p:nvPr>
          </p:nvSpPr>
          <p:spPr>
            <a:xfrm>
              <a:off x="7145488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5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4BB0D153-0E32-4D8A-8B18-EDF92B484DF4}"/>
                </a:ext>
              </a:extLst>
            </p:cNvPr>
            <p:cNvSpPr txBox="1"/>
            <p:nvPr>
              <p:custDataLst>
                <p:tags r:id="rId66"/>
              </p:custDataLst>
            </p:nvPr>
          </p:nvSpPr>
          <p:spPr>
            <a:xfrm>
              <a:off x="7548525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6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913F6030-36F0-431F-A574-366BDAE230F5}"/>
                </a:ext>
              </a:extLst>
            </p:cNvPr>
            <p:cNvSpPr txBox="1"/>
            <p:nvPr>
              <p:custDataLst>
                <p:tags r:id="rId67"/>
              </p:custDataLst>
            </p:nvPr>
          </p:nvSpPr>
          <p:spPr>
            <a:xfrm>
              <a:off x="7951563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7</a:t>
              </a:r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BBA08D06-521E-4B2F-94E0-B583725A4A68}"/>
                </a:ext>
              </a:extLst>
            </p:cNvPr>
            <p:cNvSpPr txBox="1"/>
            <p:nvPr>
              <p:custDataLst>
                <p:tags r:id="rId68"/>
              </p:custDataLst>
            </p:nvPr>
          </p:nvSpPr>
          <p:spPr>
            <a:xfrm>
              <a:off x="8354599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8</a:t>
              </a: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9C6016BE-1CAA-401F-8C1E-B4CC8BDC8CB0}"/>
                </a:ext>
              </a:extLst>
            </p:cNvPr>
            <p:cNvSpPr txBox="1"/>
            <p:nvPr>
              <p:custDataLst>
                <p:tags r:id="rId69"/>
              </p:custDataLst>
            </p:nvPr>
          </p:nvSpPr>
          <p:spPr>
            <a:xfrm>
              <a:off x="8757637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19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481D1E02-ABAC-4BD0-98B2-8D3D17354B65}"/>
                </a:ext>
              </a:extLst>
            </p:cNvPr>
            <p:cNvSpPr txBox="1"/>
            <p:nvPr>
              <p:custDataLst>
                <p:tags r:id="rId70"/>
              </p:custDataLst>
            </p:nvPr>
          </p:nvSpPr>
          <p:spPr>
            <a:xfrm>
              <a:off x="9160674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20</a:t>
              </a: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E0BCEBAA-59A4-4BB2-B7D2-14729AB60540}"/>
                </a:ext>
              </a:extLst>
            </p:cNvPr>
            <p:cNvSpPr txBox="1"/>
            <p:nvPr>
              <p:custDataLst>
                <p:tags r:id="rId71"/>
              </p:custDataLst>
            </p:nvPr>
          </p:nvSpPr>
          <p:spPr>
            <a:xfrm>
              <a:off x="9563711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21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36F40C89-CB2D-404B-89BD-C1FC430294DF}"/>
                </a:ext>
              </a:extLst>
            </p:cNvPr>
            <p:cNvSpPr txBox="1"/>
            <p:nvPr>
              <p:custDataLst>
                <p:tags r:id="rId72"/>
              </p:custDataLst>
            </p:nvPr>
          </p:nvSpPr>
          <p:spPr>
            <a:xfrm>
              <a:off x="9966748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22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75776B51-76BA-4B99-B3D7-6DA42B2ABF2D}"/>
                </a:ext>
              </a:extLst>
            </p:cNvPr>
            <p:cNvSpPr txBox="1"/>
            <p:nvPr>
              <p:custDataLst>
                <p:tags r:id="rId73"/>
              </p:custDataLst>
            </p:nvPr>
          </p:nvSpPr>
          <p:spPr>
            <a:xfrm>
              <a:off x="10369786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23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4CF0D70F-9A3C-4C1D-9076-5BD094E7B965}"/>
                </a:ext>
              </a:extLst>
            </p:cNvPr>
            <p:cNvSpPr txBox="1"/>
            <p:nvPr>
              <p:custDataLst>
                <p:tags r:id="rId74"/>
              </p:custDataLst>
            </p:nvPr>
          </p:nvSpPr>
          <p:spPr>
            <a:xfrm>
              <a:off x="10772822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24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D80D1D80-1772-4151-AA20-51B3191988F0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11175860" y="2100608"/>
              <a:ext cx="399862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25</a:t>
              </a: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543B3F39-06EB-4292-9E81-664F5D7ABC98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11578897" y="2100608"/>
              <a:ext cx="169555" cy="1862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lt1"/>
              </a:solidFill>
            </a:ln>
          </p:spPr>
          <p:txBody>
            <a:bodyPr vert="horz" wrap="none" lIns="1588" tIns="1588" rIns="1588" bIns="1588" rtlCol="0" anchor="ctr" anchorCtr="1">
              <a:noAutofit/>
            </a:bodyPr>
            <a:lstStyle/>
            <a:p>
              <a:pPr algn="ctr"/>
              <a:r>
                <a:rPr lang="en-US" sz="1200">
                  <a:solidFill>
                    <a:schemeClr val="dk1"/>
                  </a:solidFill>
                </a:rPr>
                <a:t>26</a:t>
              </a: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975EC164-2861-4AFF-9AC4-1EE333A3DE79}"/>
                </a:ext>
              </a:extLst>
            </p:cNvPr>
            <p:cNvCxnSpPr/>
            <p:nvPr>
              <p:custDataLst>
                <p:tags r:id="rId77"/>
              </p:custDataLst>
            </p:nvPr>
          </p:nvCxnSpPr>
          <p:spPr>
            <a:xfrm>
              <a:off x="584327" y="2489059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43C061AC-FA16-4A18-9634-5F8685F235E4}"/>
                </a:ext>
              </a:extLst>
            </p:cNvPr>
            <p:cNvCxnSpPr/>
            <p:nvPr>
              <p:custDataLst>
                <p:tags r:id="rId78"/>
              </p:custDataLst>
            </p:nvPr>
          </p:nvCxnSpPr>
          <p:spPr>
            <a:xfrm>
              <a:off x="584327" y="3893195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B1D6F1AB-233A-4FF2-ACC2-29828F22C7D8}"/>
                </a:ext>
              </a:extLst>
            </p:cNvPr>
            <p:cNvCxnSpPr/>
            <p:nvPr>
              <p:custDataLst>
                <p:tags r:id="rId79"/>
              </p:custDataLst>
            </p:nvPr>
          </p:nvCxnSpPr>
          <p:spPr>
            <a:xfrm>
              <a:off x="584327" y="5297331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2B72BED6-F19A-4F5F-B903-9308658881F1}"/>
                </a:ext>
              </a:extLst>
            </p:cNvPr>
            <p:cNvCxnSpPr/>
            <p:nvPr>
              <p:custDataLst>
                <p:tags r:id="rId80"/>
              </p:custDataLst>
            </p:nvPr>
          </p:nvCxnSpPr>
          <p:spPr>
            <a:xfrm>
              <a:off x="584327" y="2689650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93C81F5C-792B-458C-AC37-089170EA6D94}"/>
                </a:ext>
              </a:extLst>
            </p:cNvPr>
            <p:cNvCxnSpPr/>
            <p:nvPr>
              <p:custDataLst>
                <p:tags r:id="rId81"/>
              </p:custDataLst>
            </p:nvPr>
          </p:nvCxnSpPr>
          <p:spPr>
            <a:xfrm>
              <a:off x="584327" y="2890241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1B508A34-683D-4307-AAC9-FD2ECFBEA37A}"/>
                </a:ext>
              </a:extLst>
            </p:cNvPr>
            <p:cNvCxnSpPr/>
            <p:nvPr>
              <p:custDataLst>
                <p:tags r:id="rId82"/>
              </p:custDataLst>
            </p:nvPr>
          </p:nvCxnSpPr>
          <p:spPr>
            <a:xfrm>
              <a:off x="584327" y="3090832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B2A1B47E-3E4F-49D3-9A5B-94678A614D6D}"/>
                </a:ext>
              </a:extLst>
            </p:cNvPr>
            <p:cNvCxnSpPr/>
            <p:nvPr>
              <p:custDataLst>
                <p:tags r:id="rId83"/>
              </p:custDataLst>
            </p:nvPr>
          </p:nvCxnSpPr>
          <p:spPr>
            <a:xfrm>
              <a:off x="584327" y="3291422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50D98EEA-3F23-4EDE-96D5-3283CA1DCE87}"/>
                </a:ext>
              </a:extLst>
            </p:cNvPr>
            <p:cNvCxnSpPr/>
            <p:nvPr>
              <p:custDataLst>
                <p:tags r:id="rId84"/>
              </p:custDataLst>
            </p:nvPr>
          </p:nvCxnSpPr>
          <p:spPr>
            <a:xfrm>
              <a:off x="584327" y="3492013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DACD1C92-B4E0-4ACB-B561-8EAEF99EBCB7}"/>
                </a:ext>
              </a:extLst>
            </p:cNvPr>
            <p:cNvCxnSpPr/>
            <p:nvPr>
              <p:custDataLst>
                <p:tags r:id="rId85"/>
              </p:custDataLst>
            </p:nvPr>
          </p:nvCxnSpPr>
          <p:spPr>
            <a:xfrm>
              <a:off x="584327" y="3692604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4C47280D-7077-4712-968B-28B7121CF22A}"/>
                </a:ext>
              </a:extLst>
            </p:cNvPr>
            <p:cNvCxnSpPr/>
            <p:nvPr>
              <p:custDataLst>
                <p:tags r:id="rId86"/>
              </p:custDataLst>
            </p:nvPr>
          </p:nvCxnSpPr>
          <p:spPr>
            <a:xfrm>
              <a:off x="584327" y="4093786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755C822F-7E09-4A3B-83BC-37E33CF5DCAD}"/>
                </a:ext>
              </a:extLst>
            </p:cNvPr>
            <p:cNvCxnSpPr/>
            <p:nvPr>
              <p:custDataLst>
                <p:tags r:id="rId87"/>
              </p:custDataLst>
            </p:nvPr>
          </p:nvCxnSpPr>
          <p:spPr>
            <a:xfrm>
              <a:off x="584327" y="4294377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1F58E83-FBE1-4549-8B94-ACE07F217B43}"/>
                </a:ext>
              </a:extLst>
            </p:cNvPr>
            <p:cNvCxnSpPr/>
            <p:nvPr>
              <p:custDataLst>
                <p:tags r:id="rId88"/>
              </p:custDataLst>
            </p:nvPr>
          </p:nvCxnSpPr>
          <p:spPr>
            <a:xfrm>
              <a:off x="584327" y="4494967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030844E5-4EE7-4A95-9B5A-0F4491C55BEA}"/>
                </a:ext>
              </a:extLst>
            </p:cNvPr>
            <p:cNvCxnSpPr/>
            <p:nvPr>
              <p:custDataLst>
                <p:tags r:id="rId89"/>
              </p:custDataLst>
            </p:nvPr>
          </p:nvCxnSpPr>
          <p:spPr>
            <a:xfrm>
              <a:off x="584327" y="4695558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582BFE29-4CBA-431A-81FD-0A9EDACB104F}"/>
                </a:ext>
              </a:extLst>
            </p:cNvPr>
            <p:cNvCxnSpPr/>
            <p:nvPr>
              <p:custDataLst>
                <p:tags r:id="rId90"/>
              </p:custDataLst>
            </p:nvPr>
          </p:nvCxnSpPr>
          <p:spPr>
            <a:xfrm>
              <a:off x="584327" y="4896149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CBA033A2-E168-4791-9C4B-5D11A9C0D258}"/>
                </a:ext>
              </a:extLst>
            </p:cNvPr>
            <p:cNvCxnSpPr/>
            <p:nvPr>
              <p:custDataLst>
                <p:tags r:id="rId91"/>
              </p:custDataLst>
            </p:nvPr>
          </p:nvCxnSpPr>
          <p:spPr>
            <a:xfrm>
              <a:off x="584327" y="5096740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CF33709F-EB3E-4C1D-AF25-30FA86A1F482}"/>
                </a:ext>
              </a:extLst>
            </p:cNvPr>
            <p:cNvCxnSpPr/>
            <p:nvPr>
              <p:custDataLst>
                <p:tags r:id="rId92"/>
              </p:custDataLst>
            </p:nvPr>
          </p:nvCxnSpPr>
          <p:spPr>
            <a:xfrm>
              <a:off x="584327" y="5497922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7CA93379-7B61-4FD3-86E6-B98BA4D3496F}"/>
                </a:ext>
              </a:extLst>
            </p:cNvPr>
            <p:cNvCxnSpPr/>
            <p:nvPr>
              <p:custDataLst>
                <p:tags r:id="rId93"/>
              </p:custDataLst>
            </p:nvPr>
          </p:nvCxnSpPr>
          <p:spPr>
            <a:xfrm>
              <a:off x="584327" y="5698513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328FCB08-70E9-4913-9919-3F0E2CBC8D4A}"/>
                </a:ext>
              </a:extLst>
            </p:cNvPr>
            <p:cNvCxnSpPr/>
            <p:nvPr>
              <p:custDataLst>
                <p:tags r:id="rId94"/>
              </p:custDataLst>
            </p:nvPr>
          </p:nvCxnSpPr>
          <p:spPr>
            <a:xfrm>
              <a:off x="584327" y="5899103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DB804AD7-BAED-429C-8B46-CF39EFB65A0F}"/>
                </a:ext>
              </a:extLst>
            </p:cNvPr>
            <p:cNvCxnSpPr/>
            <p:nvPr>
              <p:custDataLst>
                <p:tags r:id="rId95"/>
              </p:custDataLst>
            </p:nvPr>
          </p:nvCxnSpPr>
          <p:spPr>
            <a:xfrm>
              <a:off x="584327" y="6099694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BBC727F6-FC97-4CB6-9C9D-8547347CC9BD}"/>
                </a:ext>
              </a:extLst>
            </p:cNvPr>
            <p:cNvCxnSpPr/>
            <p:nvPr>
              <p:custDataLst>
                <p:tags r:id="rId96"/>
              </p:custDataLst>
            </p:nvPr>
          </p:nvCxnSpPr>
          <p:spPr>
            <a:xfrm>
              <a:off x="584327" y="6300285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A173BFC1-8A33-4398-81FC-41A17166DAC6}"/>
                </a:ext>
              </a:extLst>
            </p:cNvPr>
            <p:cNvCxnSpPr/>
            <p:nvPr>
              <p:custDataLst>
                <p:tags r:id="rId97"/>
              </p:custDataLst>
            </p:nvPr>
          </p:nvCxnSpPr>
          <p:spPr>
            <a:xfrm>
              <a:off x="584327" y="6500876"/>
              <a:ext cx="11164443" cy="0"/>
            </a:xfrm>
            <a:prstGeom prst="line">
              <a:avLst/>
            </a:prstGeom>
            <a:ln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6152F321-F87A-44BD-928C-9D6AF2D940EA}"/>
                </a:ext>
              </a:extLst>
            </p:cNvPr>
            <p:cNvSpPr txBox="1"/>
            <p:nvPr>
              <p:custDataLst>
                <p:tags r:id="rId98"/>
              </p:custDataLst>
            </p:nvPr>
          </p:nvSpPr>
          <p:spPr>
            <a:xfrm>
              <a:off x="710058" y="2307125"/>
              <a:ext cx="435991" cy="16645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Exiv2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DE901CE9-C0DA-4C9B-944D-4A81FDE460BB}"/>
                </a:ext>
              </a:extLst>
            </p:cNvPr>
            <p:cNvSpPr txBox="1"/>
            <p:nvPr>
              <p:custDataLst>
                <p:tags r:id="rId99"/>
              </p:custDataLst>
            </p:nvPr>
          </p:nvSpPr>
          <p:spPr>
            <a:xfrm>
              <a:off x="710056" y="3711261"/>
              <a:ext cx="799380" cy="16645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en-US" sz="1200" b="1">
                  <a:solidFill>
                    <a:srgbClr val="000000"/>
                  </a:solidFill>
                </a:rPr>
                <a:t>RawSpeed</a:t>
              </a: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84B2E7F9-E7DA-4CFA-BC77-C53811B3B5C5}"/>
                </a:ext>
              </a:extLst>
            </p:cNvPr>
            <p:cNvSpPr txBox="1"/>
            <p:nvPr>
              <p:custDataLst>
                <p:tags r:id="rId100"/>
              </p:custDataLst>
            </p:nvPr>
          </p:nvSpPr>
          <p:spPr>
            <a:xfrm>
              <a:off x="710058" y="5115397"/>
              <a:ext cx="740071" cy="16645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darktable</a:t>
              </a: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0CD5D1C0-1E23-432F-82A7-8B8D5E238F78}"/>
                </a:ext>
              </a:extLst>
            </p:cNvPr>
            <p:cNvSpPr txBox="1"/>
            <p:nvPr>
              <p:custDataLst>
                <p:tags r:id="rId101"/>
              </p:custDataLst>
            </p:nvPr>
          </p:nvSpPr>
          <p:spPr>
            <a:xfrm>
              <a:off x="837057" y="2517558"/>
              <a:ext cx="394293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Task 1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1DD0BD1B-D894-4E22-950A-2F7A8BBA2E92}"/>
                </a:ext>
              </a:extLst>
            </p:cNvPr>
            <p:cNvSpPr txBox="1"/>
            <p:nvPr>
              <p:custDataLst>
                <p:tags r:id="rId102"/>
              </p:custDataLst>
            </p:nvPr>
          </p:nvSpPr>
          <p:spPr>
            <a:xfrm>
              <a:off x="837056" y="2718149"/>
              <a:ext cx="400770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Task X</a:t>
              </a: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26467B60-2CB9-4CB5-9C2B-2678CB3357BC}"/>
                </a:ext>
              </a:extLst>
            </p:cNvPr>
            <p:cNvSpPr txBox="1"/>
            <p:nvPr>
              <p:custDataLst>
                <p:tags r:id="rId103"/>
              </p:custDataLst>
            </p:nvPr>
          </p:nvSpPr>
          <p:spPr>
            <a:xfrm>
              <a:off x="837057" y="2918740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3</a:t>
              </a: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83024E91-4655-4D06-AEC2-2B9FB91823A2}"/>
                </a:ext>
              </a:extLst>
            </p:cNvPr>
            <p:cNvSpPr txBox="1"/>
            <p:nvPr>
              <p:custDataLst>
                <p:tags r:id="rId104"/>
              </p:custDataLst>
            </p:nvPr>
          </p:nvSpPr>
          <p:spPr>
            <a:xfrm>
              <a:off x="837057" y="3119331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4</a:t>
              </a: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CAEC7E0F-F14B-42B0-B747-3160D6F452A6}"/>
                </a:ext>
              </a:extLst>
            </p:cNvPr>
            <p:cNvSpPr txBox="1"/>
            <p:nvPr>
              <p:custDataLst>
                <p:tags r:id="rId105"/>
              </p:custDataLst>
            </p:nvPr>
          </p:nvSpPr>
          <p:spPr>
            <a:xfrm>
              <a:off x="837057" y="3319921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5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E3A718A3-C758-4573-95C2-E0E6FB774694}"/>
                </a:ext>
              </a:extLst>
            </p:cNvPr>
            <p:cNvSpPr txBox="1"/>
            <p:nvPr>
              <p:custDataLst>
                <p:tags r:id="rId106"/>
              </p:custDataLst>
            </p:nvPr>
          </p:nvSpPr>
          <p:spPr>
            <a:xfrm>
              <a:off x="837057" y="3520512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6</a:t>
              </a: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DAF25794-5792-4B68-BBE3-F7EEAE7DF9F6}"/>
                </a:ext>
              </a:extLst>
            </p:cNvPr>
            <p:cNvSpPr txBox="1"/>
            <p:nvPr>
              <p:custDataLst>
                <p:tags r:id="rId107"/>
              </p:custDataLst>
            </p:nvPr>
          </p:nvSpPr>
          <p:spPr>
            <a:xfrm>
              <a:off x="837057" y="3921694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1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3D6B3A4F-59FF-4045-8AAC-2F1AA9A6259B}"/>
                </a:ext>
              </a:extLst>
            </p:cNvPr>
            <p:cNvSpPr txBox="1"/>
            <p:nvPr>
              <p:custDataLst>
                <p:tags r:id="rId108"/>
              </p:custDataLst>
            </p:nvPr>
          </p:nvSpPr>
          <p:spPr>
            <a:xfrm>
              <a:off x="837057" y="4122285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2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A231BD65-69C8-49C3-A78D-8AED49FEA9C3}"/>
                </a:ext>
              </a:extLst>
            </p:cNvPr>
            <p:cNvSpPr txBox="1"/>
            <p:nvPr>
              <p:custDataLst>
                <p:tags r:id="rId109"/>
              </p:custDataLst>
            </p:nvPr>
          </p:nvSpPr>
          <p:spPr>
            <a:xfrm>
              <a:off x="837057" y="4322876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3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9ED6D92A-B9A6-4AD4-A4F9-4B50867A2D25}"/>
                </a:ext>
              </a:extLst>
            </p:cNvPr>
            <p:cNvSpPr txBox="1"/>
            <p:nvPr>
              <p:custDataLst>
                <p:tags r:id="rId110"/>
              </p:custDataLst>
            </p:nvPr>
          </p:nvSpPr>
          <p:spPr>
            <a:xfrm>
              <a:off x="837057" y="4523467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4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A0D8DB36-F324-48A8-8D4C-24B79B7626D1}"/>
                </a:ext>
              </a:extLst>
            </p:cNvPr>
            <p:cNvSpPr txBox="1"/>
            <p:nvPr>
              <p:custDataLst>
                <p:tags r:id="rId111"/>
              </p:custDataLst>
            </p:nvPr>
          </p:nvSpPr>
          <p:spPr>
            <a:xfrm>
              <a:off x="837057" y="4724057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5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3B892592-143D-4134-A4A3-EDD3876E2970}"/>
                </a:ext>
              </a:extLst>
            </p:cNvPr>
            <p:cNvSpPr txBox="1"/>
            <p:nvPr>
              <p:custDataLst>
                <p:tags r:id="rId112"/>
              </p:custDataLst>
            </p:nvPr>
          </p:nvSpPr>
          <p:spPr>
            <a:xfrm>
              <a:off x="837057" y="4924648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6</a:t>
              </a: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59C2152F-0A11-4A1C-A08A-60A2B37D754D}"/>
                </a:ext>
              </a:extLst>
            </p:cNvPr>
            <p:cNvSpPr txBox="1"/>
            <p:nvPr>
              <p:custDataLst>
                <p:tags r:id="rId113"/>
              </p:custDataLst>
            </p:nvPr>
          </p:nvSpPr>
          <p:spPr>
            <a:xfrm>
              <a:off x="837057" y="5325830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1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1AECD33-F67A-40DE-AC9D-F5FF718F5BEF}"/>
                </a:ext>
              </a:extLst>
            </p:cNvPr>
            <p:cNvSpPr txBox="1"/>
            <p:nvPr>
              <p:custDataLst>
                <p:tags r:id="rId114"/>
              </p:custDataLst>
            </p:nvPr>
          </p:nvSpPr>
          <p:spPr>
            <a:xfrm>
              <a:off x="837057" y="5526421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2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112179B-732B-40AF-B68B-D1ED39EFABCF}"/>
                </a:ext>
              </a:extLst>
            </p:cNvPr>
            <p:cNvSpPr txBox="1"/>
            <p:nvPr>
              <p:custDataLst>
                <p:tags r:id="rId115"/>
              </p:custDataLst>
            </p:nvPr>
          </p:nvSpPr>
          <p:spPr>
            <a:xfrm>
              <a:off x="837057" y="5727012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3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F9150BE2-2556-47D2-B80E-5951AA8FC5C3}"/>
                </a:ext>
              </a:extLst>
            </p:cNvPr>
            <p:cNvSpPr txBox="1"/>
            <p:nvPr>
              <p:custDataLst>
                <p:tags r:id="rId116"/>
              </p:custDataLst>
            </p:nvPr>
          </p:nvSpPr>
          <p:spPr>
            <a:xfrm>
              <a:off x="837057" y="5927603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4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8344DF1D-87B7-47CD-848A-5CA7420D2A54}"/>
                </a:ext>
              </a:extLst>
            </p:cNvPr>
            <p:cNvSpPr txBox="1"/>
            <p:nvPr>
              <p:custDataLst>
                <p:tags r:id="rId117"/>
              </p:custDataLst>
            </p:nvPr>
          </p:nvSpPr>
          <p:spPr>
            <a:xfrm>
              <a:off x="837057" y="6128193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5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55012403-4781-4686-8746-7ACB6983A94F}"/>
                </a:ext>
              </a:extLst>
            </p:cNvPr>
            <p:cNvSpPr txBox="1"/>
            <p:nvPr>
              <p:custDataLst>
                <p:tags r:id="rId118"/>
              </p:custDataLst>
            </p:nvPr>
          </p:nvSpPr>
          <p:spPr>
            <a:xfrm>
              <a:off x="837057" y="6328784"/>
              <a:ext cx="398865" cy="143593"/>
            </a:xfrm>
            <a:prstGeom prst="rect">
              <a:avLst/>
            </a:prstGeom>
            <a:noFill/>
            <a:ln w="0" cap="flat" cmpd="sng" algn="ctr">
              <a:solidFill>
                <a:prstClr val="black">
                  <a:alpha val="0"/>
                </a:prst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Row 6</a:t>
              </a:r>
            </a:p>
          </p:txBody>
        </p: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E682F619-72BA-4CE7-B9AD-1EB389851D7F}"/>
                </a:ext>
              </a:extLst>
            </p:cNvPr>
            <p:cNvCxnSpPr/>
            <p:nvPr>
              <p:custDataLst>
                <p:tags r:id="rId119"/>
              </p:custDataLst>
            </p:nvPr>
          </p:nvCxnSpPr>
          <p:spPr>
            <a:xfrm>
              <a:off x="1731687" y="2288468"/>
              <a:ext cx="0" cy="4196533"/>
            </a:xfrm>
            <a:prstGeom prst="line">
              <a:avLst/>
            </a:prstGeom>
            <a:ln w="6350">
              <a:solidFill>
                <a:srgbClr val="DEDED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A1C2EE2A-F5B5-4E99-B0F2-42C819DE28E2}"/>
                </a:ext>
              </a:extLst>
            </p:cNvPr>
            <p:cNvSpPr/>
            <p:nvPr>
              <p:custDataLst>
                <p:tags r:id="rId120"/>
              </p:custDataLst>
            </p:nvPr>
          </p:nvSpPr>
          <p:spPr>
            <a:xfrm>
              <a:off x="583057" y="1909572"/>
              <a:ext cx="11166982" cy="459130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0" cap="rnd" cmpd="sng" algn="ctr">
              <a:solidFill>
                <a:schemeClr val="accent1">
                  <a:shade val="50000"/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28735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4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73451e7-27bc-40d4-96f4-e8ec1738307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3df469f-1720-497c-bbe6-237ed494b59f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5658a8f-1ef6-4b07-a22a-1007bff3b439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8e028c0-abae-4be4-810b-1fe970ed51ec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c8b4a7d-5ab9-4a43-b606-c0fcc4de8419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e1c8420-4c2d-43b9-894e-93a56052f28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4f9e1b6-8c54-43bc-bde7-46b5b1e8cee8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a2888a7-645d-40fb-9cc2-16f817eae56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2193c4e-3b9a-4fa2-a037-a38b4888d0c6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3a882d6-bad2-4b87-b7fe-f34c3af3fed8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1c97100-1318-42a4-a549-59adff02cd0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6aa9fcb-8ace-464c-8880-588fa6b45b5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726eae6-f6c6-4648-8187-818cb47b62f9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14ba48a-5b10-4784-87d8-07a19779250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35ecb58-396d-4352-8a6e-512b84227bd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79b769c-9d30-45cc-899e-36dfab1eda18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369eac6-7b18-4086-bcff-09152525a75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d8f9c11-1adf-4acc-9c78-d610322b44b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56f2418-deb1-436d-8507-ec204b41b5eb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c8384b7-a994-429b-a5c2-9f0020b3c58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d6f39b4-db98-4c93-8251-5b1698d3103b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55a14c6-8015-43c1-9b03-7b7b1d3d28e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3fe8c3a-4a81-4720-bd42-50cc0b186649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60cd6d3-362f-499f-a134-dbaa02c38d9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1e70b3b-1d89-496b-b762-57cfb87c072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85e8ed2-57fd-4233-bfe6-0e087c69743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d9aa425-412a-4bc2-a887-b190c6477b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0eb7fa2-10f0-47e2-ba5f-a8e333f318a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a557099-fab3-4e09-adc7-86753d14362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a51fe1b-4059-457f-949f-0cce1a52f95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c6b879b-c99d-4fc1-a1fc-8af7a418f1d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0c5eb67-1ec1-4686-aa0d-a5480692a92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639070d-8064-43b3-bc72-9ab88a353cf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4c9c8fc-231c-4f80-8e52-026122fca4a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138e536-409a-496c-81c7-a2ed63fbb4e8"/>
  <p:tag name="MIO_GUID" val="779b97b5-86ee-47c6-a38c-1d0ba47b53ab"/>
  <p:tag name="MIO_UPDATE" val="True"/>
  <p:tag name="MIO_VERSION" val="22.10.2020 10:07:45"/>
  <p:tag name="MIO_DBID" val="0F45B44C-9BC7-4D85-81C4-7155EE70A7B9"/>
  <p:tag name="MIO_LASTDOWNLOADED" val="08.01.2021 09:20:00.224"/>
  <p:tag name="MIO_OBJECTNAME" val="Content Placeholder 6"/>
  <p:tag name="MIO_LASTEDITORNAME" val="Sharon Sasse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5ffc348-9462-4f60-877b-87b2506e1c1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ee41c7b-f00a-4d8e-83df-458d5abdd5ec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fcf310b-97c3-443b-b647-043ab8a0bbe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d96e147-7ac3-4a19-bd55-6ca652f2c7f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8fc8142-f5fe-4b94-82bf-f5856dfdc57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e4dfa14-60c5-4ef9-b699-de7fda93842b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1bed35c-d81d-4a80-a367-08f7b889a5cf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1bba07f-e30b-49a5-a1b1-1482dd9ea20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ca39763-4c9b-4099-94fd-a9079f6446e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6a8dd10-5086-4fea-8a35-1bafafb6dd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138e536-409a-496c-81c7-a2ed63fbb4e8"/>
  <p:tag name="MIO_GUID" val="779b97b5-86ee-47c6-a38c-1d0ba47b53ab"/>
  <p:tag name="MIO_UPDATE" val="True"/>
  <p:tag name="MIO_VERSION" val="22.10.2020 10:07:45"/>
  <p:tag name="MIO_DBID" val="0F45B44C-9BC7-4D85-81C4-7155EE70A7B9"/>
  <p:tag name="MIO_LASTDOWNLOADED" val="08.01.2021 09:20:00.224"/>
  <p:tag name="MIO_OBJECTNAME" val="Content Placeholder 6"/>
  <p:tag name="MIO_LASTEDITORNAME" val="Sharon Sasse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30cdbec-0a21-4adf-a732-740e0f401cf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8825fed-8e6b-46ab-8390-e5963e49a6d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f042399-731a-43c9-8624-29da6657cb9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7f6e68a-2cc1-44ff-abd3-e489d5bf1f2b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a942ec3-0b06-4873-bac9-ca9028a3cbd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8736d9b-d8d3-43ad-b23b-cb992f2a0b2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ea81e65-c510-4c14-aa3c-ff25b1d06b7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97c96c5-e844-477b-988a-05b3750f99cc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d94aefe-2f7e-4271-8027-b6f760e1b97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408cc36-69d0-46da-abc1-cb62917da88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_OVERLAY_IGNORE" val="Yes please."/>
  <p:tag name="MIO_SELECTION_PROXY" val="00000106-00e0-0000-9b6f-f71c0000000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451e866-a29d-46e8-a4ab-2064109e631c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75d4c18-01fc-4cc1-9133-871903cf276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5ff1bbd-5e35-4579-bbd2-baac23761cb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64a6e72-feb6-48c3-881b-edfc63d555d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1bc9984-4155-4ad5-9597-6106bd54744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e36785d-626d-4e08-88be-6edb79521b2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6aa5e43-ebb7-41c7-b15c-8525ad7da62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f868591-2e81-4013-b732-098969794b6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291a97c-4594-4872-a667-3d4c00428ce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a2f29e9-b7d4-4ef6-af55-8873c3436bf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OUPSHAPEHOST_RUNTIMEID" val="00000000-0000-0000-0000-000000000000"/>
  <p:tag name="MIO_SKIP_CDCHECK" val="true"/>
  <p:tag name="EMPOWER_OVERLAY_IGNORE" val="Yes please."/>
  <p:tag name="GANTT_GROUP_SHAPE" val="Yes.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c369ddd-c492-4c04-9ffb-2e1a43902e6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edc4f1e-466b-467c-8432-a064f0222d4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5ade7b3-8a1a-4b1d-a2d8-d0fe7e26779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cb8b8ef-4f69-4929-8608-7b34e04b8bf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902c13e-beae-4411-b62b-82852cec1b3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d7aab6c-4cc9-41cf-9f66-5dc1c0297bd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43810ff-b20d-4044-967a-f9e9c498fabf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dcd354e-e0e1-43f4-bb38-4a90fce02779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9a864a8-34df-454e-bcd3-ba8f43a4f0bb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70d7849-7469-4012-86d6-49a48bf76cc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0e1ba11-d4bb-4c3c-b419-03e750efdba8"/>
  <p:tag name="GANTT_DATA" val="Yes."/>
  <p:tag name="MIN_VERSION_NEEDED" val="8.0.0.0"/>
  <p:tag name="RUNTIME_ID" val="dee39ed6-d4ba-4166-b171-810a082accf5"/>
  <p:tag name="LAST_RENDER_ID" val="3721f829-3891-4233-9126-d67c0a503cad"/>
  <p:tag name="EMPOWERCHARTSPROPERTIES_B_0" val="AAAAAAH//////////wEAAAAAAAAAAAAAACoqIFRoaXMgaXMgYSBMaXRlREIgZmlsZSAqKgcuAP////+C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CwAAAAAAAAAV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gBAQEBAQEBAQEBAQEBAQsAAAAAAAAAAwAAAAMAAAAA/////w0AugkAAAAAAAAAAAAAIAD///////////////8AAAD///////////////8DAAAABgD///////8DAAAABgD///////8DAAAABgD///////8DAAAAB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w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i7/XbFZuRGkNJJx7MAi/QFAAAAAAADAAAACwADAAAACgADAAIA////////BAAAAAMAEAAL4JOGkHn2zUKtbVjhKu3zjwUAAAABAAMAAAAIAAMAAAAJAAMAAAAIAAMAAAAEAAQABAD///////8EAAAABAAQAAsaPjm2OyCLTobg1yvCkaBQBQAAAAIAAwAAAAkAAwAAAAwAAwAAAAMAAwAAAAwAAwAAAAsAAwAAAAwAAwAAAAYA////////BQADAP///////wQAAAAFABAACw6bwwr1g1JNoWiMvV9x9IUFAAAAAwADAAAABgADAAAABwADAAAABgADAAAABwADAAAABgADAAAACwAGAAQA////////BAAAAAYAEAAL23o8CsdsdUyzLoFWRu2J8AUAAAAEAAMAAAAAAAMAAAAFAAMAAAAAAAMAAAAFAAMAAAAAAAMAAAAFAAMAAAAAAAMAAAAEAAcAAgD///////8EAAAABwAQAAtjYypWyoI6RrnS94WIV2LBBQAAAAUAAwAAAAUAAwAAAAsAAwAAAAUAAwAAAAsACAACAP///////wQAAAAIABAAC0XZHYiQm1VFuQ7TNs+tphAUAAAAAAADAAAACgADAAAAAwADAAAACwADAAAAAwAJAAEA////////BAAAAAkAEAALswwDsCFbwU+mtNkmP/aZqxQAAAABAAMAAAADAAMAAAAEAAoAAQD///////8EAAAACgAQAAuvH7p3gpEOTqGScSkQsvvBFAAAAAIAAwAAAAIAAwAAAAgACwADAP///////wQAAAALABAACyaaPHU/ykZJtSRD7r/f6agVAAAAAAADAAAABwADAAAAAgADAAAABwADAAAACAADAAAABQADAAAABAAMAAMA////////BAAAAAwAEAAL/kJR6qtYMkC9j2g+LOkL9BUAAAABAAMAAAAEAAMAAAABAAMAAAAEAP///////wMAAAAE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NAJ4JAAAAAAAAAAAAACAB////////////////AAAA////////////////BAAAAAIA////////BAAAAAIA////////BAAAAAIA////////BAAAAAIA////////BAAAAAIA////////BAAAAAIA////////BAAAAAIA////////BAAAAAU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M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wEDAAAAAgD///////8LAAZBbGlnbm1lbnRfMAUAAAAAAAQAAAAAAAQAAAADAAQAAAAAAAQAAAAFAAQAAAAAAAQAAAAFAAQAAAAAAAQAAAAFAAQAAAAAAAQAAAAFAAQAAAAAAAQAAAAFAAQAAAAAAAQAAAAFAAMAAQEDAAAAAwD///////8LAAZEYXRlTGluZXNfMAUAAAABAAQAAAACAAQAAAAJAAQABAEDAAAABAD///////8TAAZHbG9iYWxSZW5kZXJJbmZvc18xBQAAAAIABAAAAAUABAAAAAoABAAAAAUABAAAAAYABAAAAAUABAAAAAYABAAAAAUA////////BQAIAQMAAAAFAP///////xEABkRpc3BsYXlTZXR0aW5nc18xBQAAAAMABAAAAAkABAAAAAQABAAAAAIABAAAAAQABAAAAAIABAAAAAQABAAAAAIABAAAAAQABAAAAAIA////////BAAAAAIA////////BAAAAAIA////////BAAAAAAA////////BgADAQMAAAAGAP///////wwABkhpZ2hsaWdodHNfMAUAAAAEAAQAAAAIAAQAAAAHAAQAAAAEAAQAAAAHAAQAAAAEAP///////wcAAgEDAAAABwD///////8LAAZOb3Rlc0FyZWFfMAUAAAAFAAQAAAAGAAQAAAALAAQAAAAGAAQAAAALAAgAAQEDAAAACAD///////8NAAZIZWFkZXJTdHlsZV8wFAAAAAAABAAAAAoABAAAAAYACQABAQMAAAAJAP///////wgABkRlbGF5c18wFAAAAAEABAAAAAMABAAAAAUACgABAQMAAAAKAP///////xUABkdsb2JhbFN0eWxlU2V0dGluZ3NfMhQAAAACAAQAAAAEAAQAAAAIAAsAAgEDAAAACwD///////8KAAZTZWN0aW9uc18zFQAAAAAABAAAAAcABAAAAAwABAAAAAcA////////DAABAQMAAAAMAP///////wsABlRpbWVSYW5nZV8wFQAAAAEABAAAAAsABA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P//////////BgDuAwAAAAAAAAAAAAD/////mACYAAAABV9pZAAQAAAABPi7/XbFZuRGkNJJx7MAi/QDRGF0YQA/AAAAAVdpZHRoALgehetReotAAUhlaWdodAC4HoXrUZh2QAFUb3AA7FG4HoXLYkABTGVmdAAUrkfhevRGQAACTmFtZQAKAAAAQWxpZ25tZW50ABBWZXJzaW9uAAAAAAAJTGFzdFdyaXRlAIPvEeF2AQAAAAEA/////14AXgAAAAVfaWQAEAAAAATgk4aQefbNQq1tWOEq7fOPBERhdGEABQAAAAACTmFtZQAKAAAARGF0ZUxpbmVzABBWZXJzaW9uAAAAAAAJTGFzdFdyaXRlAIPvEeF2AQAAAAIABgAAAAAAAwD/////JQElAQAABV9pZAAQAAAABA6bwwr1g1JNoWiMvV9x9IUDRGF0YQDGAAAACEFyZVNlY3Rpb25zVmlzaWJsZQABCEFyZVdlZWtlbmRzSGlkZGVuAAAISXNJbkdlbmVyaWNNb2RlAAAISXNEaXNhYmxlZAAAAkFsdGVybmF0aW5nTW9kZQATAAAARGVmYXVsdEFsdGVybmF0aW5nAAJWaWV3UmVzb2x1dGlvbgAFAAAAV2VlawAISXNMZWdhY3lWaWV3UmVzb2x1dGlvbgABAlNlbGVjdGVkQ3VsdHVyZU5hbWUABgAAAGVuLVVTAAACTmFtZQAQAAAARGlzcGxheVNldHRpbmdzABBWZXJzaW9uAAEAAAAJTGFzdFdyaXRlAIbvEeF2AQAAAAQA/////18AXwAAAAVfaWQAEAAAAATbejwKx2x1TLMugVZG7YnwBERhdGEABQAAAAACTmFtZQALAAAASGlnaGxpZ2h0cwAQVmVyc2lvbgAAAAAACUxhc3RXcml0ZQCG7xHhdgEAAAAFAP////9PCU8JAAAFX2lkABAAAAAEY2MqVsqCOka50veFiFdiwQNEYXRhAPYIAAADTGVmdENvbHVtbgBfBAAAAkhlYWRlcgAGAAAATm90ZXMAA0hlYWRlclN0eWxlAPEDAAABRGVmYXVsdEZvbnRTaXplAAAAAAAAACRAAUZvbnRTaXplAAAAAAAAAChAA0ZvbnRDb2xvcgBVAAAAEEEA/wAAABBSAAAAAAAQRwAAAAAAEEIAAAAAAAFTY0EAAAAAAAAA8D8BU2NSAAAAAAAAAAAAAVNjRwAAAAAAAAAAAAFTY0IAAAAAAAAAAAAAEEZvbnRUaGVtZUNvbG9yAAE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AAAAAAQUgAAAAAAEEcAAAAAABBCAAAAAAABU2NBAAAAAAAAAAAAAVNjUgAAAAAAAAAAAAFTY0cAAAAAAAAAAAABU2NCAAAAAAAAAAAAAAhEYXRhU3R5bGVGb250Q29sb3JIYXNWYWx1ZQAA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ISXNWaXNpYmxlAAAIU2hvd1RleHQAAQhTaG93SGFydmV5QmFsbAAACFNob3dDaGVja0JveAAACFNob3dUcmFmZmljTGlnaHQAAAADUmlnaHRDb2x1bW4AXwQAAAJIZWFkZXIABgAAAE5vdGVzAANIZWFkZXJTdHlsZQDxAwAAAURlZmF1bHRGb250U2l6ZQAAAAAAAAAkQAFGb250U2l6ZQAAAAAAAAAoQANGb250Q29sb3IAVQAAABBBAP8AAAAQUgAAAAAAEEcAAAAAABBCAAAAAAABU2NBAAAAAAAAAPA/AVNjUgAAAAAAAAAAAAFTY0cAAAAAAAAAAAABU2NCAAAAAAAAAAAAABBGb250VGhlbWVDb2xvcgAB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CElzVmlzaWJsZQAACFNob3dUZXh0AAEIU2hvd0hhcnZleUJhbGwAAAhTaG93Q2hlY2tCb3gAAAhTaG93VHJhZmZpY0xpZ2h0AAAAAVNwbGl0UmF0aW9QcmVzZXQAAAAAAAAA8L8AAk5hbWUACgAAAE5vdGVzQXJlYQAQVmVyc2lvbgAAAAAACUxhc3RXcml0ZQCH7xHhd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AAAAX/////BwAAAOcPAAAAAAAAAAAAAJJYAQAFX2lkABAAAAAEGj45tjsgi06G4NcrwpGgUANEYXRhADFYAQADQmFja2dyb3VuZABrBgAAA0JhY2tncm91bmQAWgYAAAJBdXRvU2hhcGVUeXBlAAoAAABSZWN0YW5nbGUABU1hbmFnZWRJZAAQAAAABKJ/64DwEOJHul+o4zPzGKcISGFzQ2hhbmdlcwAACFVzZU5hbWVJbnN0ZWFkT2ZUYWdBc0lkAAAIU2hhcGVQcmV2aW91c2x5Q3JlYXRlZAABA0ZpbGxDb2xvcgBVAAAAEEEA/wAAABBSAP8AAAAQRwD/AAAAEEIA/wAAAAFTY0EAAAAAAAAA8D8BU2NSAAAAAAAAAPA/AVNjRwAAAAAAAADwPwFTY0IAAAAAAAAA8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FGYdkABV2lkdGgAAAAA4FF6i0ABVG9wAAAAACCFy2JAAUxlZnQAAAAA4Hr0RkAIRmxpcEhvcml6b250YWxseQAACEZsaXBIb3Jpem9udGFsbHlBcHBsaWVkAAAIRmxpcFZlcnRpY2FsbHkAAAhGbGlwVmVydGljYWxseUFwcGxpZWQAAAFSb3RhdGlvbgAAAAAAAAAAAAFaT3JkZXIAAAAAAAAA8D8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NEYXRhAGoGAAADUmVjdGFuZ2xlAFoGAAACQXV0b1NoYXBlVHlwZQAKAAAAUmVjdGFuZ2xlAAVNYW5hZ2VkSWQAEAAAAAQRuuHQu9Q8TLQZA+dQ79uo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PA/AVdpZHRoAAAAAAAAAPA/AVRvcAAAAACgR7l0QAFMZWZ0AAAAAIA9YH5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R3JpZExlZnRTaWRlANoGAAADVmVydGljYWxMaW5lAMcGAAADU3RhcnQAGwAAAAFYAKuqqmLJZ2FAAVkAAAAAHDh+ZkAAA0VuZAAbAAAAAVgAq6qqYslnYUABWQAAAABwFO5/QAACU3RhcnRBcnJvd0hlYWQAEQAAAG1zb0Fycm93aGVhZE5vbmUAAkVuZEFycm93SGVhZAARAAAAbXNvQXJyb3doZWFkTm9uZQAFTWFuYWdlZElkABAAAAAE0o5e2P1XM0K/5g4IfGl0P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gcAAAAFBgAAAAgAAADnDwAAAAAAAAAAAAB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PiudEABV2lkdGgAAAAAAAAAAAABVG9wAAAAACA4fmZAAUxlZnQAAAAAYMlnYUAIRmxpcEhvcml6b250YWxseQAACEZsaXBIb3Jpem9udGFsbHlBcHBsaWVkAAAIRmxpcFZlcnRpY2FsbHkAAAhGbGlwVmVydGljYWxseUFwcGxpZWQAAAFSb3RhdGlvbgAAAAAAAAAAAAFaT3JkZXIAAAAAAABAVUADQm9yZGVyQ29sb3IAVQAAABBBAP8AAAAQUgDeAAAAEEcA3gAAABBCAN4AAAABU2NBAAAAAAAAAPA/AVNjUgAAAABA71/nPwFTY0cAAAAAQO9f5z8BU2NCAAAAAEDvX+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NHcmlkAOEiAQAEWWVhckhlYWRlcnMABQAAAAAEUXVhcnRlckhlYWRlcnMABQAAAAAETW9udGhIZWFkZXJzAA8nAAADMACCBgAABU1hbmFnZWRJZAAQAAAABH+gu4EL46VJobEUgt2eogAISGFzQ2hhbmdlcwAACFVzZU5hbWVJbnN0ZWFkT2ZUYWdBc0lkAAAIU2hhcGVQcmV2aW91c2x5Q3JlYXRlZAABA0ZpbGxDb2xvcgBVAAAAEEEA/wAAABBSAKQAAAAQRwDeAAAAEEIA9AAAAAFTY0EAAAAAAAAA8D8BU2NSAAAAAMBbwtc/AVNjRwAAAABA71/nPwFTY0IAAAAAAPzy7D8AEEZpbGxUaGVtZUNvbG9yAAUAAAABRmlsbFRpbnRBbmRTaGFkZQAAAABAMzPj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IAAAASmFudWFyeQ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gAAABKYW51YXJ5AAFIZWlnaHQAAAAA4JfVLUABV2lkdGgAAAAAoOQXW0ABVG9wAAAAACCFy2JAAUxlZnQAAAAAYMlvYU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AhAYAAAVNYW5hZ2VkSWQAEAAAAARjl6Ncm0yZQJT9qQefZEbmCEhhc0NoYW5nZXMAAAhVc2VOYW1lSW5zdGVhZE9mVGFnQXNJZAAACFNoYXBlUHJldmlvdXNseUNyZWF0ZWQAAQNGaWxsQ29sb3IAVQAAABBBAP8AAAAQUgCkAAAAEEcA3gAAABBCAPQAAAABU2NBAAAAAAAAAPA/AVNjUgAAAADAW8LXPwFTY0cAAAAAQO9f5z8BU2NCAAAAAAD88uw/ABBGaWxsVGhlbWVDb2xvcgAFAAAAAUZpbGxUaW50QW5kU2hhZGUAAAAAQDMz4z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CQAAAEZlYnJ1YXJ5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CQAAAEZlYnJ1YXJ5AAFIZWlnaHQAAAAA4JfVLUABV2lkdGgAAAAAAOCbX0ABVG9wAAAAACCFy2JAAUxlZnQAAAAAwLv7bkAIRmxpcEhvcml6b250YWxseQAACEZsaXBIb3Jpem9udGFsbHlBcHBsaWVkAAAIRmxpcFZlcnRpY2FsbHkAAAhGbGlwVmVydGljYWxseUFwcGxpZWQAAAFSb3RhdGlvbgAAAAAAAAAAAAFaT3JkZXIAAAAAAAAAJkADQm9yZGVyQ29sb3IAVQAAABBBAP8AAAAQUgD/AAAAEEcA/wAAABBCAP8AAAABU2NBAAAAAAAAAPA/AVNjUgAAAAAIAAAABQcAAAAJAAAA5w8AAAAAAAA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yAH4GAAAFTWFuYWdlZElkABAAAAAEEN2o5oZQ6k+KNRuvr7bdGghIYXNDaGFuZ2VzAAAIVXNlTmFtZUluc3RlYWRPZlRhZ0FzSWQAAAhTaGFwZVByZXZpb3VzbHlDcmVhdGVkAAEDRmlsbENvbG9yAFUAAAAQQQD/AAAAEFIApAAAABBHAN4AAAAQQgD0AAAAAVNjQQAAAAAAAADwPwFTY1IAAAAAwFvC1z8BU2NHAAAAAEDvX+c/AVNjQgAAAAAA/PLsPwAQRmlsbFRoZW1lQ29sb3IABQAAAAFGaWxsVGludEFuZFNoYWRlAAAAAEAzM+M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YAAABNYXJjaA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YAAABNYXJjaAABSGVpZ2h0AAAAAOCX1S1AAVdpZHRoAAAAAGBuf2FAAVRvcAAAAAAghctiQAFMZWZ0AAAAAODVZHd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zAH4GAAAFTWFuYWdlZElkABAAAAAE7NsMAyEK30qnMnQOD0Ac9whIYXNDaGFuZ2VzAAAIVXNlTmFtZUluc3RlYWRPZlRhZ0FzSWQAAAhTaGFwZVByZXZpb3VzbHlDcmVhdGVkAAEDRmlsbENvbG9yAFUAAAAQQQD/AAAAEFIApAAAABBHAN4AAAAQQgD0AAAAAVNjQQAAAAAAAADwPwFTY1IAAAAAwFvC1z8BU2NHAAAAAEDvX+c/AVNjQgAAAAAA/PLsPwAQRmlsbFRoZW1lQ29sb3IABQAAAAFGaWxsVGludEFuZFNoYWRlAAAAAEAzM+M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YAAABBcHJpbA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YAAABBcHJpbAABSGVpZ2h0AAAAAOCX1S1AAVdpZHRoAAAAAODu7mBAAVRvcAAAAAAghctiQAFMZWZ0AAAAAIBGEoB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0AHoGAAAFTWFuYWdlZElkABAAAAAEb1It2HqgJkmMVS5Af0HL+AhIYXNDaGFuZ2VzAAAIVXNlTmFtZUluc3RlYWRPZlRhZ0FzSWQAAAhTaGFwZVByZXZpb3VzbHlDcmVhdGVkAAEDRmlsbENvbG9yAFUAAAAQQQD/AAAAEFIApAAAABBHAN4AAAAQQgD0AAAAAVNjQQAAAAAAAADwPwFTY1IAAAAAwFvC1z8BU2NHAAAAAEDvX+c/AVNjQgAAAAAA/PLsPwAQRmlsbFRoZW1lQ29sb3IABQAAAAFGaWxsVGludEFuZFNoYWRlAAAAAEAzM+M/EEZpbGxTY2hlbWVDb2xvcgAAAAAAA1BhdHRlcm5Db2xvcgBVAAAAEEEAAAAAABBSAAAAAAAQRwAAAAAAEEIAAAAAAAFTY0EAAAAAAAAAAAABU2NSAAAAAAAAAAAAAVNjRwAAAAAAAAAAAAFTY0IAAAAAAAAAAAAACQAAAAUIAAAACgAAAOcPAAAAAAAAAAAAABBQYXR0ZXJuVGhlbWVDb2xvcgAAAAAAAVBhdHRlcm5UaW50QW5kU2hhZGUAAAAAAAAAAAAIRmlsbFZpc2libGUAAQhWaXNpYmxlAAECRmlsbFBhdHRlcm4AEAAAAG1zb1BhdHRlcm5NaXhlZAACVGV4dAAEAAAATWF5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BAAAAE1heQABSGVpZ2h0AAAAAOCX1S1AAVdpZHRoAAAAAGBuf2FAAVRvcAAAAAAghctiQAFMZWZ0AAAAAEACToR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1AHwGAAAFTWFuYWdlZElkABAAAAAEs2iDhvXlPESodedb+DzlsghIYXNDaGFuZ2VzAAAIVXNlTmFtZUluc3RlYWRPZlRhZ0FzSWQAAAhTaGFwZVByZXZpb3VzbHlDcmVhdGVkAAEDRmlsbENvbG9yAFUAAAAQQQD/AAAAEFIApAAAABBHAN4AAAAQQgD0AAAAAVNjQQAAAAAAAADwPwFTY1IAAAAAwFvC1z8BU2NHAAAAAEDvX+c/AVNjQgAAAAAA/PLsPwAQRmlsbFRoZW1lQ29sb3IABQAAAAFGaWxsVGludEFuZFNoYWRlAAAAAEAzM+M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UAAABKdW5l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BQAAAEp1bmUAAUhlaWdodAAAAADgl9UtQAFXaWR0aAAAAADg7u5gQAFUb3AAAAAAIIXLYkABTGVmdAAAAADA3a2I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BFdlZWtIZWFkZXJzAIGoAAADMAB2BgAABU1hbmFnZWRJZAAQAAAABO1fgmhrjqtGg5Dllj5JptY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MQ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AxAAFIZWlnaHQAAAAA4JfVLUABV2lkdGgAAAAAoOQXK0ABVG9wAAAAAKDeqGRAAUxlZnQAAAAAYMlvYQoAAAAFCQAAAAsAAADnDwAAAAAAAAAAAAB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AHYGAAAFTWFuYWdlZElkABAAAAAEmSMEnxpzyUOGJCnaZlfLnghIYXNDaGFuZ2VzAAAIVXNlTmFtZUluc3RlYWRPZlRhZ0FzSWQAAAhTaGFwZVByZXZpb3VzbHlDcmVhdGVkAAEDRmlsbENvbG9yAFUAAAAQQQD/AAAAEFIA0gAAABBHAO8AAAAQQgD6AAAAAVNjQQAAAAAAAADwPwFTY1IAAAAA4JOf5D8BU2NHAAAAAOD7nus/AVNjQgAAAABgVZfuPwAQRmlsbFRoZW1lQ29sb3IABQAAAAFGaWxsVGludEFuZFNoYWRlAAAAAKCZmek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Ay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gAAADIAAUhlaWdodAAAAADgl9UtQAFXaWR0aAAAAAAA4Js/QAFUb3AAAAAAoN6oZEABTGVmdAAAAACgRyFj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gB2BgAABU1hbmFnZWRJZAAQAAAABIrm9hfBLP9Eq9PkidW/Hys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Mw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AzAAFIZWlnaHQAAAAA4JfVLUABV2lkdGgAAAAAAOCbP0ABVG9wAAAAAKDeqGRAAUxlZnQAAAAAoMMUZ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MAdgYAAAVNYW5hZ2VkSWQAEAAAAATDLpSaBgtzSLrJypAoo8vQCEhhc0NoYW5nZXMAAAhVc2VOYW1lSW5zdGVhZE9mVGFnQXNJZAAACFNoYXBlUHJldmlvdXNseUNyZWF0ZWQAAQNGaWxsQ29sb3IAVQAAABBBAP8AAAAQUgDSAAAAEEcA7wAAABBCAPoAAAABU2NBAAAAAAAAAPA/AVNjUgAAAADgk5/kPwFTY0cAAAAA4Pue6z8BU2NCAAAAAGALAAAABQoAAAAMAAAA5w8AAAAAAAAAAAAAVZfuPwAQRmlsbFRoZW1lQ29sb3IABQAAAAFGaWxsVGludEFuZFNoYWRlAAAAAKCZmek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IAAAA0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gAAADQAAUhlaWdodAAAAADgl9UtQAFXaWR0aAAAAAAA4Js/QAFUb3AAAAAAoN6oZEABTGVmdAAAAACgPwhr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AB2BgAABU1hbmFnZWRJZAAQAAAABJttc6jT2K1DsjvLmS8qCyA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NQ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A1AAFIZWlnaHQAAAAA4JfVLUABV2lkdGgAAAAAAOCbP0ABVG9wAAAAAKDeqGRAAUxlZnQAAAAAwLv7bk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UAdgYAAAVNYW5hZ2VkSWQAEAAAAARlHqg+EMUUTKo8/yWx0GtwCEhhc0NoYW5nZXMAAAhVc2VOYW1lSW5zdGVhZE9mVGFnQXNJZAAACFNoYXBlUHJldmlvdXNseUNyZWF0ZWQAAQNGaWxsQ29sb3IAVQAAABBBAP8AAAAQUgDSAAAAEEcA7wAAABBCAPoAAAABU2NBAAAAAAAAAPA/AVNjUgAAAADgk5/kPwFTY0cAAAAA4Pue6z8BU2NCAAAAAGBVl+4/ABBGaWxsVGhlbWVDb2xvcgAFAAAAAUZpbGxUaW50QW5kU2hhZGUAAAAAoJmZ6T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DYAAlRleHRIb3Jpem9udGFsQWxpZ25tZW50ABAAAABtc29BbmNob3J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DAAAAAULAAAADQAAAOcPAAAAAAAAAAAAAGdpbgA/AAAAAUxlZnQAAAAAAAAAAAABVG9wAAAAAAAAAAAAAVJpZ2h0AAAAAAAAAAAAAUJvdHRvbQAAAAAAAAAAAAACRGlzcGxheVRleHQAAgAAADYAAUhlaWdodAAAAADgl9UtQAFXaWR0aAAAAAAA4Js/QAFUb3AAAAAAoN6oZEABTGVmdAAAAADgm3dx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gB2BgAABU1hbmFnZWRJZAAQAAAABMWWfKlE6HtHmIoFs3UPmcw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Nw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A3AAFIZWlnaHQAAAAA4JfVLUABV2lkdGgAAAAAAOCbP0ABVG9wAAAAAKDeqGRAAUxlZnQAAAAA4Flxc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cAdgYAAAVNYW5hZ2VkSWQAEAAAAAT+rpRdfi9xQoAntvdg4blzCEhhc0NoYW5nZXMAAAhVc2VOYW1lSW5zdGVhZE9mVGFnQXNJZAAACFNoYXBlUHJldmlvdXNseUNyZWF0ZWQAAQNGaWxsQ29sb3IAVQAAABBBAP8AAAAQUgDSAAAAEEcA7wAAABBCAPoAAAABU2NBAAAAAAAAAPA/AVNjUgAAAADgk5/kPwFTY0cAAAAA4Pue6z8BU2NCAAAAAGBVl+4/ABBGaWxsVGhlbWVDb2xvcgAFAAAAAUZpbGxUaW50QW5kU2hhZGUAAAAAoJmZ6T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gAAADgAAlRleHRIb3Jpem9udGFsQWxpZ25tZW50ABAAAABtc29BbmNob3J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CAAAAOAABSGVpZ2h0AAAAAOCX1S1AAVdpZHRoAAAAAADgmz9AAVRvcAAAAACg3qhkQAFMZWZ0AAAAAOAXa3V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4AHYGAAAFTWFuYWdlZElkABAAAAAENswI5NBp2karwctikX2ohwhIYXNDaGFuZ2VzAA0AAAAFDAAAAA4AAADnDwAAAAAAAAAAAA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CAAAAOQ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IAAAA5AAFIZWlnaHQAAAAA4JfVLUABV2lkdGgAAAAAAOCbP0ABVG9wAAAAAKDeqGRAAUxlZnQAAAAA4NVkd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kAeAYAAAVNYW5hZ2VkSWQAEAAAAARm6FEEnaLoRqSrIGQQnmMcCEhhc0NoYW5nZXMAAAhVc2VOYW1lSW5zdGVhZE9mVGFnQXNJZAAACFNoYXBlUHJldmlvdXNseUNyZWF0ZWQAAQNGaWxsQ29sb3IAVQAAABBBAP8AAAAQUgDSAAAAEEcA7wAAABBCAPoAAAABU2NBAAAAAAAAAPA/AVNjUgAAAADgk5/kPwFTY0cAAAAA4Pue6z8BU2NCAAAAAGBVl+4/ABBGaWxsVGhlbWVDb2xvcgAFAAAAAUZpbGxUaW50QW5kU2hhZGUAAAAAoJmZ6T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Ew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EwAAFIZWlnaHQAAAAA4JfVLUABV2lkdGgAAAAAAOCbP0ABVG9wAAAAAKDeqGRAAUxlZnQAAAAA4JNeeU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wAHgGAAAFTWFuYWdlZElkABAAAAAEGExdt/wBwUyRM4cZA88nZghIYXNDaGFuZ2VzAAAIVXNlTmFtZUluc3RlYWRPZlRhZ0FzSWQAAAhTaGFwZVByZXZpb3VzbHlDcmVhdGVkAAEDRmlsbENvbG9yAFUAAAAQQQD/AAAAEFIA0gAAABBHAO8AAAAQQgD6AAAAAVNjQQAAAAAAAADwPwFTY1IAAAAA4JOf5D8BU2NHAAAAAOD7nus/AVNjQgAAAABgVZfuPwAQRmlsbFRoZW1lQ29sb3IABQAAAAFGaWxsVGludEFuZFNoYWRlAAAAAKCZmek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xMQ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0OAAAABQ0AAAAPAAAA5w8AAAAAAAAAAAAA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TEAAUhlaWdodAAAAADgl9UtQAFXaWR0aAAAAAAA4Js/QAFUb3AAAAAAoN6oZEABTGVmdAAAAADgUVh7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TEAeAYAAAVNYW5hZ2VkSWQAEAAAAAS9G//lNV55RbvSuqwjdhy9CEhhc0NoYW5nZXMAAAhVc2VOYW1lSW5zdGVhZE9mVGFnQXNJZAAACFNoYXBlUHJldmlvdXNseUNyZWF0ZWQAAQNGaWxsQ29sb3IAVQAAABBBAP8AAAAQUgDSAAAAEEcA7wAAABBCAPoAAAABU2NBAAAAAAAAAPA/AVNjUgAAAADgk5/kPwFTY0cAAAAA4Pue6z8BU2NCAAAAAGBVl+4/ABBGaWxsVGhlbWVDb2xvcgAFAAAAAUZpbGxUaW50QW5kU2hhZGUAAAAAoJmZ6T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Ey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EyAAFIZWlnaHQAAAAA4JfVLUABV2lkdGgAAAAAAOCbP0ABVG9wAAAAAKDeqGRAAUxlZnQAAAAA4A9SfU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yAHgGAAAFTWFuYWdlZElkABAAAAAEcm5KFrb+w0iIG+38Y9VV0whIYXNDaGFuZ2VzAAAIVXNlTmFtZUluc3RlYWRPZlRhZ0FzSWQAAAhTaGFwZVByZXZpb3VzbHlDcmVhdGVkAAEDRmlsbENvbG9yAFUAAAAQQQD/AAAAEFIA0gAAABBHAO8AAAAQQgD6AAAAAVNjQQAAAAAAAADwPwFTY1IAAAAA4JOf5D8BU2NHAAAAAOD7nus/AVNjQgAAAABgVZfuPwAQRmlsbFRoZW1lQ29sb3IABQAAAAFGaWxsVGludEFuZFNoYWRlAAAAAKCZmek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xMw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xMwABSGVpZ2h0AAAAAOCX1S1AAVdpZHRoAAAAAADgmz9AAVRvcAAAAACg3qhkQAFMZWZ0AAAAAODNS39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DwAAAAUOAAAAEAAAAOcPAAAAAAAAAAAAAAAACExpbmVSdWxlV2l0aGluAAABUmlnaHRJbmRlbnQAAAAAAAAAAAABU3BhY2VBZnRlcgAAAAAAAAAAAAFTcGFjZUJlZm9yZQAAAAAAAAAAAAFTcGFjZVdpdGhpbgAAAAAAAAAAAAADMTMAeAYAAAVNYW5hZ2VkSWQAEAAAAASEmbyBVUHVSpWXYQa9VHRFCEhhc0NoYW5nZXMAAAhVc2VOYW1lSW5zdGVhZE9mVGFnQXNJZAAACFNoYXBlUHJldmlvdXNseUNyZWF0ZWQAAQNGaWxsQ29sb3IAVQAAABBBAP8AAAAQUgDSAAAAEEcA7wAAABBCAPoAAAABU2NBAAAAAAAAAPA/AVNjUgAAAADgk5/kPwFTY0cAAAAA4Pue6z8BU2NCAAAAAGBVl+4/ABBGaWxsVGhlbWVDb2xvcgAFAAAAAUZpbGxUaW50QW5kU2hhZGUAAAAAoJmZ6T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E0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E0AAFIZWlnaHQAAAAA4JfVLUABV2lkdGgAAAAAAOCbP0ABVG9wAAAAAKDeqGRAAUxlZnQAAAAAAMaigE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0AHgGAAAFTWFuYWdlZElkABAAAAAEeWjH1RI1wU+0U11gdSF6CwhIYXNDaGFuZ2VzAAAIVXNlTmFtZUluc3RlYWRPZlRhZ0FzSWQAAAhTaGFwZVByZXZpb3VzbHlDcmVhdGVkAAEDRmlsbENvbG9yAFUAAAAQQQD/AAAAEFIA0gAAABBHAO8AAAAQQgD6AAAAAVNjQQAAAAAAAADwPwFTY1IAAAAA4JOf5D8BU2NHAAAAAOD7nus/AVNjQgAAAABgVZfuPwAQRmlsbFRoZW1lQ29sb3IABQAAAAFGaWxsVGludEFuZFNoYWRlAAAAAKCZmek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xNQ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xNQABSGVpZ2h0AAAAAOCX1S1AAVdpZHRoAAAAAADgmz9AAVRvcAAAAACg3qhkQAFMZWZ0AAAAAACln4F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NQB4BgAABU1hbmFnZWRJZAAQAAAABPybQEiQ6NRGi8OtItmRGZA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TYAAlRleHRIb3Jpem9udGFsQWxpZ25tZW50ABAAAABtc29BbmNob3JDZW50ZXIAAlRleHRWZXJ0aWNhbEFsaWdubWVudAAQAAAAbXNvQW5jaG9yTWlkZGxlAANGb250U3R5bGUAQQEAABBGb250QmFja2dyb3VuZAAAAAAACEZvbnRCb2xkAAADRm9udENvbG9yAFUAAAAQQQD/AAAAEFIAABAAAAAFDwAAABEAAADnDwAAAAAAAAAA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E2AAFIZWlnaHQAAAAA4JfVLUABV2lkdGgAAAAAAOCbP0ABVG9wAAAAAKDeqGRAAUxlZnQAAAAAAIScgk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2AHgGAAAFTWFuYWdlZElkABAAAAAE4m8He9Or30CWl34Aa0FyfAhIYXNDaGFuZ2VzAAAIVXNlTmFtZUluc3RlYWRPZlRhZ0FzSWQAAAhTaGFwZVByZXZpb3VzbHlDcmVhdGVkAAEDRmlsbENvbG9yAFUAAAAQQQD/AAAAEFIA0gAAABBHAO8AAAAQQgD6AAAAAVNjQQAAAAAAAADwPwFTY1IAAAAA4JOf5D8BU2NHAAAAAOD7nus/AVNjQgAAAABgVZfuPwAQRmlsbFRoZW1lQ29sb3IABQAAAAFGaWxsVGludEFuZFNoYWRlAAAAAKCZmek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xNw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xNwABSGVpZ2h0AAAAAOCX1S1AAVdpZHRoAAAAAADgmz9AAVRvcAAAAACg3qhkQAFMZWZ0AAAAAABjmYN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NwB4BgAABU1hbmFnZWRJZAAQAAAABAeuC2QDjpJLne6MHQtt7+s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TgAAlRleHRIb3Jpem9udGFsQWxpZ25tZW50ABAAAABtc29BbmNob3J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TgAAUhlaWdodAAAAADgl9UtQAFXaWR0aAAAAAAA4Js/QAFUb3AAAAAAoN6oZEABTGVmdAAAAAAAQpaE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kRAAAABRAAAAASAAAA5w8AAAAAAAAAAAAA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4AHgGAAAFTWFuYWdlZElkABAAAAAE4L34giISTEKXATYhHWexvAhIYXNDaGFuZ2VzAAAIVXNlTmFtZUluc3RlYWRPZlRhZ0FzSWQAAAhTaGFwZVByZXZpb3VzbHlDcmVhdGVkAAEDRmlsbENvbG9yAFUAAAAQQQD/AAAAEFIA0gAAABBHAO8AAAAQQgD6AAAAAVNjQQAAAAAAAADwPwFTY1IAAAAA4JOf5D8BU2NHAAAAAOD7nus/AVNjQgAAAABgVZfuPwAQRmlsbFRoZW1lQ29sb3IABQAAAAFGaWxsVGludEFuZFNoYWRlAAAAAKCZmek/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AAMAAAAxOQ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xOQABSGVpZ2h0AAAAAOCX1S1AAVdpZHRoAAAAAADgmz9AAVRvcAAAAACg3qhkQAFMZWZ0AAAAAAAhk4V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OQB4BgAABU1hbmFnZWRJZAAQAAAABIHbnxoCm2tJk5hwsnE+Nd8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jAAAlRleHRIb3Jpem9udGFsQWxpZ25tZW50ABAAAABtc29BbmNob3J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jAAAUhlaWdodAAAAADgl9UtQAFXaWR0aAAAAAAA4Js/QAFUb3AAAAAAoN6oZEABTGVmdAAAAAAAAJCG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jAAeAYAAAVNYW5hZ2VkSWQAEAAAAASaFYzUeVc0SI1Q8FW8aSs4CEhhc0NoYW5nZXMAAAhVc2VOYW1lSW5zdGVhZE9mVGFnQXNJZAAACFNoYXBlUHJldmlvdXNseUNyZWF0ZWQAAQNGaWxsQ29sb3IAVQAAABBBAP8AAAAQUgDSAAAAEEcA7wAAABBCAPoAAAABU2NBAAAAAAAAAPA/AVNjUgAAAADgk5/kPwFTY0cAAAAA4Pue6z8BU2NCAAAAAGBVl+4/ABBGaWxsVGhlbWVDb2xvcgAFAAAAAUZpbGxUaW50QW5kU2hhZGUAAAAAoJmZ6T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xAAJUEgAAAAURAAAAEwAAAOcPAAAAAAAAAAAAA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yMQABSGVpZ2h0AAAAAOCX1S1AAVdpZHRoAAAAAADgmz9AAVRvcAAAAACg3qhkQAFMZWZ0AAAAAADfjId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yMQB4BgAABU1hbmFnZWRJZAAQAAAABCyLhREIjLBDvv70a7tUr2Q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jIAAlRleHRIb3Jpem9udGFsQWxpZ25tZW50ABAAAABtc29BbmNob3J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jIAAUhlaWdodAAAAADgl9UtQAFXaWR0aAAAAAAA4Js/QAFUb3AAAAAAoN6oZEABTGVmdAAAAAAAvomI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jIAeAYAAAVNYW5hZ2VkSWQAEAAAAATTioWQ8q2IQpan34sNL9XiCEhhc0NoYW5nZXMAAAhVc2VOYW1lSW5zdGVhZE9mVGFnQXNJZAAACFNoYXBlUHJldmlvdXNseUNyZWF0ZWQAAQNGaWxsQ29sb3IAVQAAABBBAP8AAAAQUgDSAAAAEEcA7wAAABBCAPoAAAABU2NBAAAAAAAAAPA/AVNjUgAAAADgk5/kPwFTY0cAAAAA4Pue6z8BU2NCAAAAAGBVl+4/ABBGaWxsVGhlbWVDb2xvcgAFAAAAAUZpbGxUaW50QW5kU2hhZGUAAAAAoJmZ6T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z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IzAAFIZWlnaHQAAAAA4JfVLUABV2lkdGgAAAAAAOCbP0ABVG9wAAAAAKDeqGRAAUxlZnQAAAAAAJ2GiUAIRmxpcEhvcml6b250YWxseQAACEZsaXBIb3Jpem9udGFsbHlBcHBsaWVkAAAIRmxpcFZlcnRpY2FsbHkAAAhGbGlwVmVydGljYWxseUFwcGxpZWQAAAFSb3RhdGlvbgAAAAAAAAAAAAFaT3JkZXIAAAAAAAAAJkADQm9yZGVyQ29sb3IAVQAAABBBAP8AABMAAAAFEgAAAIIAAADnDwAAAAAAAAAA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yMwB4BgAABU1hbmFnZWRJZAAQAAAABNtKPAu17DlIhjhdvWNutHcISGFzQ2hhbmdlcwAACFVzZU5hbWVJbnN0ZWFkT2ZUYWdBc0lkAAAIU2hhcGVQcmV2aW91c2x5Q3JlYXRlZAABA0ZpbGxDb2xvcgBVAAAAEEEA/wAAABBSANIAAAAQRwDvAAAAEEIA+gAAAAFTY0EAAAAAAAAA8D8BU2NSAAAAAOCTn+Q/AVNjRwAAAADg+57rPwFTY0IAAAAAYFWX7j8AEEZpbGxUaGVtZUNvbG9yAAUAAAABRmlsbFRpbnRBbmRTaGFkZQAAAACgmZnpPx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AADAAAAMjQAAlRleHRIb3Jpem9udGFsQWxpZ25tZW50ABAAAABtc29BbmNob3JDZW50ZXI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oQAhGb250U3RyaWtldGhyb3VnaAAACEZvbnRTdWJzY3JpcHQAAAhGb250U3VwZXJzY3JpcHQAAAhGb250VW5kZXJsaW5lAAAACFNpemVUb1RleHRXaWR0aAAACFNpemVUb1RleHRIZWlnaHQAAANUZXh0TWFyZ2luAD8AAAABTGVmdAAAAAAAAAAAAAFUb3AAAAAAAAAAAAABUmlnaHQAAAAAAAAAAAABQm90dG9tAAAAAAAAAAAAAAJEaXNwbGF5VGV4dAADAAAAMjQAAUhlaWdodAAAAADgl9UtQAFXaWR0aAAAAAAA4Js/QAFUb3AAAAAAoN6oZEABTGVmdAAAAAAAfIOKQAhGbGlwSG9yaXpvbnRhbGx5AAAIRmxpcEhvcml6b250YWxseUFwcGxpZWQAAAhGbGlwVmVydGljYWxseQAACEZsaXBWZXJ0aWNhbGx5QXBwbGllZAAAAVJvdGF0aW9uAAAAAAAAAAAAAVpPcmRlcgAAAAAAAAAmQANCb3JkZXJDb2xvcgBVAAAAEEEA/wAAABBSAP8AAAAQRwD/AAAAEEIA/wAAAAFTY0EAAAAAAAAA8D8BU2NSAAAAAAAAAPA/AVNjRwAAAAAAAADwPwFTY0IAAAAAAAAA8D8AEEJvcmRlclRoZW1lQ29sb3IAAgAAAAFCb3JkZXJUaW50QW5kU2hhZGUAAAAAAAAAAAAQQm9yZGVyU2NoZW1lQ29sb3IAAAAAAAFCb3JkZXJUaGlja25lc3MAAAAAAAAA0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MjQAeAYAAAVNYW5hZ2VkSWQAEAAAAAQdo0ap96yWSbmQ/FDv+kiPCEhhc0NoYW5nZXMAAAhVc2VOYW1lSW5zdGVhZE9mVGFnQXNJZAAACFNoYXBlUHJldmlvdXNseUNyZWF0ZWQAAQNGaWxsQ29sb3IAVQAAABBBAP8AAAAQUgDSAAAAEEcA7wAAABBCAPoAAAABU2NBAAAAAAAAAPA/AVNjUgAAAADgk5/kPwFTY0cAAAAA4Pue6z8BU2NCAAAAAGBVl+4/ABBGaWxsVGhlbWVDb2xvcgAFAAAAAUZpbGxUaW50QW5kU2hhZGUAAAAAoJmZ6T8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QAAwAAADI1AAJUZXh0SG9yaXpvbnRhbEFsaWdubWVudAAQAAAAbXNvQW5jaG9yQ2VudGVy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wAAADI1AAFIZWlnaHQAAAAA4JfVLUABV2lkdGgAAAAAAOCbP0ABVG9wAAAAAKDeqGRAAUxlZnQAAAAAAFuAi0AIRmxpcEhvcml6b250YWxseQAACEZsaXBIb3Jpem9udGFsbHlBcHBsaWVkAAAIRmxpcFZlcnRpY2FsbHkAAAhGbGlwVmVydGljYWxseUFwcGxpZWQAAAFSb3RhdGlvbgAAAAAAAAAAAAFaT3JkZXIAAAAAAAAAJkADQm9yZGVyQ29sb3IAVQAAABBBAP8AAAAQUgD/AAAAEEcA/wAAABBCAP8AAAABU2NBAAAAAAAAAPA/AVNjUgAAAAAAAADwPwFTY0cAAAAAAAAA8D8BU2NCAAAAAAAAAPA/ABBCb3JkZXJUaGVtZUNvbG9yAAIAAAABQm9yZGVyVGludEFuZFNoYWRlAAAAAAAAAAAAEEJvcmRlclNjaGVtZUNvbG9yAAAAAAABQm9yZGVyVGhpY2tuZXNzAAAAAAAAAN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I1AHgGAAAFTWFuYWdlZElkABAAAAAEWrptvFHb4U2b3w9aFI82qAhIYXNDaGFuZ2VzAAAIVXNlTmFtZUluc3RlYWRPZlRhZ0FzSWQAAAhTaGFwZVByZXZpb3VzbHlDcmVhdGVkAAEDRmlsbENvbG9yAFUAAAAQQQD/AAAAEFIA0gAAABBHAO8AAAAQQgD6AAAAAVNjQQAAAAAAAADwPwFTY1IAAAAA4JOf5D8BU2NHAAAAAOD7nus/AVNjQgAAAABgVZfuPwAQRmlsbFRoZW1lQ29sb3IABQAAAAFGaWxsVGludEFuZFNoYWRlAAAAAKCZmek/EEZpbGxTY2hlbWVDb2xvcgAAAAAAA1BhdHRlcm5Db2xvcgBVAAAAEEEAAAAAABBSAAAAAAAQRwAAAAAAEEIAAAAAAAFTY0EAAAAAAAAAAAABU2NSAAAUAAAABP//////////AwCkAQAAAAAAAAAAAAD/////TARMBAAABV9pZAAQAAAABEXZHYiQm1VFuQ7TNs+tphADRGF0YQDxAwAAAURlZmF1bHRGb250U2l6ZQAAAAAAAAAkQAFGb250U2l6ZQAAAAAAAAAo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AAAAAAEFIAAAAAABBHAAAAAAAQQgAAAAAAAVNjQQAAAAAAAAAAAAFTY1IAAAAAAAAAAAABU2NHAAAAAAAAAAAAAVNjQgAAAAAAAAAAAAAIRGF0YVN0eWxlRm9udENvbG9ySGFzVmFsdWUAAA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Ak5hbWUADAAAAEhlYWRlclN0eWxlABBWZXJzaW9uAAAAAAAJTGFzdFdyaXRlAIfvEeF2AQAAAAEA/////1sAWwAAAAVfaWQAEAAAAASzDAOwIVvBT6a02SY/9pmrBERhdGEABQAAAAACTmFtZQAHAAAARGVsYXlzABBWZXJzaW9uAAAAAAAJTGFzdFdyaXRlAIrvEeF2AQAAAAIA/////4QJhAkAAAVfaWQAEAAAAASvH7p3gpEOTqGScSkQsvvBA0RhdGEAIQkAAAFGb250U2l6ZQAAAAAAAAAkQAFCYXJIZWlnaHQAAAAAAAAAKEABUGVyY2VudGFnZUJhckhlaWdodACXSqTH6k/oPwhUaW1lbGluZVNob3dEYXlzAAAIVGltZWxpbmVTaG93V2Vla3MAAQhUaW1lbGluZVNob3dNb250aHMAAQhUaW1lbGluZVNob3dRdWFydGVycwAACFRpbWVsaW5lU2hvd1llYXJzAAADVGltZWxpbmVEYXlDdXN0b21pemluZwBHAQAAA0JhY2tncm91bmRDb2xvcgBVAAAAEEEA/wAAABBSAPIAAAAQRwDyAAAAEEIA8gAAAAFTY0EAAAAAAAAA8D8BU2NSAAAAAMDdaew/AVNjRwAAAADA3WnsPwFTY0IAAAAAwN1p7D8AEEJhY2tncm91bmRUaGVtZUNvbG9yAAIAAAABQmFja2dyb3VuZFRpbnRBbmRTaGFkZQAAAACgmZmpvwNGb250Q29sb3IAVQAAABBBAP8AAAAQUgAAAAAAEEcAAAAAABBCAAAAAAABU2NBAAAAAAAAAPA/AVNjUgAAAAAAAAAAAAFTY0cAAAAAAAAAAAABU2NCAAAAAAAAAAAAABBGb250VGhlbWVDb2xvcgABAAAAAUZvbnRUaW50QW5kU2hhZGUAAAAAAAAAAAAIU2hvd1ZlcnRpY2FsTGluZXMAAAADVGltZWxpbmVXZWVrQ3VzdG9taXppbmcARwEAAANCYWNrZ3JvdW5kQ29sb3IAVQAAABBBAP8AAAAQUgDSAAAAEEcA7wAAABBCAPoAAAABU2NBAAAAAAAAAPA/AVNjUgAAAADgk5/kPwFTY0cAAAAA4Pue6z8BU2NCAAAAAGBVl+4/ABBCYWNrZ3JvdW5kVGhlbWVDb2xvcgAFAAAAAUJhY2tncm91bmRUaW50QW5kU2hhZGUAAAAAoJmZ6T8DRm9udENvbG9yAFUAAAAQQQD/AAAAEFIAAAAAABBHAAAAAAAQQgAAAAAAAVNjQQAAAAAAAADwPwFTY1IAAAAAAAAAAAABU2NHAAAAAAAAAAAAAVNjQgAAAAAAAAAAAAAQRm9udFRoZW1lQ29sb3IAAQAAAAFGb250VGludEFuZFNoYWRlAAAAAAAAAAAACFNob3dWZXJ0aWNhbExpbmVzAAAAA1RpbWVsaW5lTW9udGhDdXN0b21pemluZwBHAQAAA0JhY2tncm91bmRDb2xvcgBVAAAAEEEA/wAAABBSAKQAAAAQRwDeAAAAEEIA9AAAAAFTY0EAAAAAAAAA8D8BU2NSAAAAAMBbwtc/AVNjRwAAAABA71/nPwFTY0IAAAAAAPzy7D8AEEJhY2tncm91bmRUaGVtZUNvbG9yAAUAAAABQmFja2dyb3VuZFRpbnRBbmRTaGFkZQAAAABAMzPjPwNGb250Q29sb3IAVQAAABBBAP8AAAAQUgAAAAAAEEcAAAAAABBCAAAAAAABU2NBAAAAAAAAAPA/AVNjUgAAAAAAAAAAAAFTY0cAAAAAAAAAAAABU2NCAAAAAAAAAAAAABBGb250VGhlbWVDb2xvcgABAAAAAUZvbnRUaW50QW5kU2hhZGUAAAAAAAAAAAAIU2hvd1ZlcnRpY2FsTGluZXMAAAADVGltZWxpbmVRdWFydGVyQ3VzdG9taXppbmcARwEAAANCYWNrZ3JvdW5kQ29sb3IAVQAAABBBAP8AAAAQUgB3AAAAEEcAzgAAABBCAO8AAAABU2NBAAAAAAAAAPA/AVNjUgAAAABg4JzHPwFTY0cAAAAAACjA4z8BU2NCAAAAAOD7nus/ABBCYWNrZ3JvdW5kVGhlbWVDb2xvcgAFAAAAAUJhY2tncm91bmRUaW50QW5kU2hhZGUAAAAAoJmZ2T8DRm9udENvbG9yAFUAAAAQQQD/AAAAEFIAAAAAABBHAAAAAAAQQgAAAAAAAVNjQQAAAAAAAADwPwFTY1IAAAAAAAAAAAABU2NHAAAAAAAAAAAAAVNjQgAAAAAAAAAAAAAQRm9udFRoZW1lQ29sb3IAAQAAAAFGb250VGludEFuZFNoYWRlAAAAAAAAAAAACFNob3dWZXJ0aWNhbExpbmVzAAAAA1RpbWVsaW5lWWVhckN1c3RvbWl6aW5nAEcBAAADQmFja2dyb3VuZENvbG9yAFUAAAAQQQD/AAAAEFIAHAAAABBHAK0AAAAQQgDkAAAAAVNjQQAAAAAAAADwPwFTY1IAAAAAICnIhz8BU2NHAAAAAAChvto/AVNjQgAAAAAgidPoPwAQQmFja2dyb3VuZFRoZW1lQ29sb3IABQAAAAFCYWNrZ3JvdW5kVGludEFuZFNoYWRlAAAAAAAAAAAAA0ZvbnRDb2xvcgBVAAAAEEEA/wAAABBSAAAAAAAQRwAAAAAAEEIAAAAAAAFTY0EAAAAAAAAA8D8BU2NSAAAAAAAAAAAAAVNjRwAAAAAAAAAAAAFTY0IAAAAAAAAAAAAAEEZvbnRUaGVtZUNvbG9yAAEAAAABRm9udFRpbnRBbmRTaGFkZQAAAAAAAAAAAAhTaG93VmVydGljYWxMaW5lcwAAAAJEYXlMYWJlbE1vZGUABwAAAE51bWJlcgACTW9udGhMYWJlbE1vZGUACgAAAEF1dG9tYXRpYwACUXVhcnRlckxhYmVsTW9kZQAGAAAAU2hvcnQACFVzZURlZmF1bHRUaW1lbGluZVZpc2liaWxpdHlTZXR0aW5ncwABAVByZWZlcnJlZEhlYWRlckZvbnRTaXplAAAAAAAAAChAAU9wdGltaXplZEZvbnRTaXplAAAAAAAAAAAAA0N1c3RvbWl6aW5nRGVzY3JpcHRpb25EYXRhAJgAAAACTmFtZQAXAAAARGVmYXVsdEZsZXhDdXN0b21pemluZwAQVmVyc2lvbgABAAAAEE1pbm9yVmVyc2lvbgAAAAAAAk1pb0NkSWQAJQAAAGQzMDM3MWZiLWJkMmItNDgxNi1hMGNlLWJkNmExNDc5YWI2YgACRmxleEN1c3RvbWl6aW5nVHlwZQAIAAAARGVmYXVsdAAACE5lZWRzSGlnaGxpZ2h0c0xlZ2FjeUluaXRpYWxpemF0aW9uAAAAAk5hbWUAFAAAAEdsb2JhbFN0eWxlU2V0dGluZ3MAEFZlcnNpb24AAgAAAAlMYXN0V3JpdGUAiu8R4X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QAAAAQAAAAA/////wIAVQ8AAAAAAAAAAAAAFgAAAAAAAQD/////ggCCAAAABV9pZAAQAAAABP5CUeqrWDJAvY9oPizpC/QDRGF0YQApAAAACVN0YXJ0VGltZQCABRTfdgEAAAlFbmRUaW1lAABDyVl6AQAAAAJOYW1lAAoAAABUaW1lUmFuZ2UAEFZlcnNpb24AAAAAAAlMYXN0V3JpdGUAO2IS4X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AAAAF/////xcAAADnDwAAAAAAAAAAAAANOwYABV9pZAAQAAAABCaaPHU/ykZJtSRD7r/f6agERGF0YQC1OgYAAzAAihMCAARSb3dzAKu4AQADMABwSQAABEl0ZW1zAAUAAAAAAk5hbWUABwAAAFRhc2sgMQAISXNIaWdobGlnaHRlZAAAA1N0eWxlAAoE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SaWdo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0xlZnROb3Rlc1JlbmRlckluZm8AQBQAAANMYWJlbAByBgAABU1hbmFnZWRJZAAQAAAABBEQLhT2+StKh2o+MUiiOU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MXAAAABRYAAAAYAAAA5w8AAAAAAAAAAAAA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CB0x2h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gEmlqQAADRW5kABsAAAABWAAzMzPBzOyMQAFZAAAAACASaWpAAAJTdGFydEFycm93SGVhZAARAAAAbXNvQXJyb3doZWFkTm9uZQACRW5kQXJyb3dIZWFkABEAAABtc29BcnJvd2hlYWROb25lAAVNYW5hZ2VkSWQAEAAAAASsCXM6J/K7SqChjxx2C0dE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gEmlq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BjHZTcGW7hDrgPQi8r62Vg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CClj2h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GAAAAAUXAAAAGQAAAOcPAA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BALTwsZ5R9KkKruGqt69EU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IHTHaE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CASaWpAAANFbmQAGwAAAAFYADMzM8HM7IxAAVkAAAAAIBJpakAAAlN0YXJ0QXJyb3dIZWFkABEAAABtc29BcnJvd2hlYWROb25lAAJFbmRBcnJvd0hlYWQAEQAAAG1zb0Fycm93aGVhZE5vbmUABU1hbmFnZWRJZAAQAAAABLf49d3VceRCj9erV2bkV88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ASaWp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Jg8d1f+jlkWlh3cah/i6ughIYXNDaGFuZ2VzAAEIVXNlTmFtZUluc3RlYWRPZlRhZ0FzSWQAAAhTaGFwZVByZXZpb3VzbHlDcmVhdGVkAAADRmlsbENvbG9yAFUAAAAQQQD/AAAAEFIARQAAABBHAFkAAAAQQgBuAAAAAVNjQQAAAAAAAADwPwFTY1IAAAAAwEF4rhkAAAAFGAAAABoAAADnDwAAAAAAAAAAAAA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CClj2h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xRMAAANMYWJlbAB+BgAABU1hbmFnZWRJZAAQAAAABCCEHG4tTLlDiU6TpWBS8o4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HAAAAVGFzayAx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cAAABUYXNrIDEAAUhlaWdodAAAAACA8JwmQAFXaWR0aAAAAABg8gs/QAFUb3AAAAAAIHTHaEABTGVmdAAAAACAPXpQ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R8qZFSlEVySKZnPUwAQozjCEhhc0NoYW5nZXMAAAhVc2VOYW1lSW5zdGVhZE9mVGFnQXNJZAAACFNoYXBlUHJldmlvdXNseUNyZWF0ZWQAAQ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kaAAAABRkAAAAbAAAA5w8AAAAAAAAAAAAA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DgUXqLQAFUb3AAAAAAIKWPaEABTGVmdAAAAADgevRG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R8FGQAFZAJIkSRYSaWpAAANFbmQAGwAAAAFYADMzM8HM7IxAAVkAkiRJFhJpakAAAlN0YXJ0QXJyb3dIZWFkABEAAABtc29BcnJvd2hlYWROb25lAAJFbmRBcnJvd0hlYWQAEQAAAG1zb0Fycm93aGVhZE5vbmUABU1hbmFnZWRJZAAQAAAABBhagrDtssNNm+SOSXrc2Co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QLiAi0ABVG9wAAAAACASaWpAAUxlZnQAAAAAoEfBRk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MQBwSQAABEl0ZW1zAAUAAAAAAk5hbWUABwAAAFRhc2sgWAAISXNIaWdobGlnaHRlZAAAA1N0eWxlAAoE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GwAAAAUaAAAAHAAAAOcPAAAAAAAAAA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UmlnaH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MZWZ0Tm90ZXNSZW5kZXJJbmZvAEAUAAADTGFiZWwAcgYAAAVNYW5hZ2VkSWQAEAAAAASVnaZmm6VhR5kccEHnBdT9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CDhwGp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gf2JsQAADRW5kABsAAAABWAAzMzPBzOyMQAFZAAAAACB/YmxAAAJTdGFydEFycm93SGVhZAARAAAAbXNvQXJyb3doZWFkTm9uZQACRW5kQXJyb3dIZWFkABEAAABtc29BcnJvd2hlYWROb25lAAVNYW5hZ2VkSWQAEAAAAASQxJlasTliTqPeBkDPLNxE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RwAAAAFGwAAAB0AAADnDwAAAAAAAAAAAAB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IH9ibE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QdUNVwO98CQop0XeTGEwOO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AgEolq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PXiNhxDR3hMqso7Ce8FEQ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IOHAakABTGVmdAAAAACAmTmNQAgdAAAABRwAAAAeAAAA5w8AAAAAAAAAAAAA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gf2JsQAADRW5kABsAAAABWAAzMzPBzOyMQAFZAAAAACB/YmxAAAJTdGFydEFycm93SGVhZAARAAAAbXNvQXJyb3doZWFkTm9uZQACRW5kQXJyb3dIZWFkABEAAABtc29BcnJvd2hlYWROb25lAAVNYW5hZ2VkSWQAEAAAAARAXjVIi6GGS5KJrMVXa0Dz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gf2Js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Gs2RcJNU3BOsA7Bsd49R4A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CASiWp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HgAAAAUdAAAAHwAAAOcPAAAAAAAAAAAAAHRlAAUAAABOb25lAAADTGVmdFNpZGVSZW5kZXJJbmZvAMUTAAADTGFiZWwAfgYAAAVNYW5hZ2VkSWQAEAAAAAS24fmEVIy8Q73nRrWx6M7o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wAAAFRhc2sgW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HAAAAVGFzayBYAAFIZWlnaHQAAAAAgPCcJkABV2lkdGgAAAAAwIGOP0ABVG9wAAAAACDhwGpAAUxlZnQAAAAAgD16UE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6SkvutS39k6vVYhzw0Nr+whIYXNDaGFuZ2VzAAAIVXNlTmFtZUluc3RlYWRPZlRhZ0FzSWQAAAhTaGFwZVByZXZpb3VzbHlDcmVhdGVkAAE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DgUXqLQAFUb3AAAAAAIBKJakABTGVmdAAAAADgevRG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R8FGQAFZANu2bRN/YmxAAANFbmQAGwAAAAFYADMzM8HM7IxAAVkA27ZtE39ibEAAAlN0YXJ0QXJyb3dIZWFkABEAAABtc29BcnJvd2hlYWROb25lAAJFbmRBcnJvd0hlYWQAEQAAAG1zb0Fycm93aGVhZE5vbmUABU1hbmFnZWRJZAAQAAAABHYTzwq6a8dHulFJWjxTRZA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h8AAAAFHgAAACAAAADnDwAAAAAAAAAAAAB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EC4gItAAVRvcAAAAAAgf2JsQAFMZWZ0AAAAAKBHwUZ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IAbUkAAARJdGVtcwAFAAAAAAJOYW1lAAYAAABSb3cgMwAISXNIaWdobGlnaHRlZAAAA1N0eWxlAAoE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SaWdo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wgAAAABR8AAAAhAAAA5w8AAAAAAAAAAAAA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MZWZ0Tm90ZXNSZW5kZXJJbmZvAEAUAAADTGFiZWwAcgYAAAVNYW5hZ2VkSWQAEAAAAARzV//aij2ERrrdXVyC31U4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ABOumx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g7FtuQAADRW5kABsAAAABWAAzMzPBzOyMQAFZAAAAACDsW25AAAJTdGFydEFycm93SGVhZAARAAAAbXNvQXJyb3doZWFkTm9uZQACRW5kQXJyb3dIZWFkABEAAABtc29BcnJvd2hlYWROb25lAAVNYW5hZ2VkSWQAEAAAAATPwpb8YA9OTr5yiEqL8Ltn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g7Ftu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PYMTn6HeCZMoyOidL++Lko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IQAAAAUgAAAAIgAAAOcPAAAAAAAAAAAAAG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Agf4Js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CtQPSGMXG5NhSWaSD/L76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AE66bE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CDsW25AAANFbmQAGwAAAAFYADMzM8HM7IxAAVkAAAAAIOxbbkAAAlN0YXJ0QXJyb3dIZWFkABEAAABtc29BcnJvd2hlYWROb25lAAJFbmRBcnJvd0hlYWQAEQAAAG1zb0Fycm93aGVhZE5vbmUABU1hbmFnZWRJZAAQAAAABFUqkDv+EiFHgjNnofn/K6E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SIAAAAFIQAAACMAAADnDwAAAAAAAAAAAAByc2NyaXB0AAAIRm9udFVuZGVybGluZQAAAAhTaXplVG9UZXh0V2lkdGgAAAhTaXplVG9UZXh0SGVpZ2h0AAADVGV4dE1hcmdpbgA/AAAAAUxlZnQAAAAAAAAAAAABVG9wAAAAAAAAAAAAAVJpZ2h0AAAAAAAAAAAAAUJvdHRvbQAAAAAAAAAAAAABSGVpZ2h0AAAAAAAAAAAAAVdpZHRoAAAAAKCZmek/AVRvcAAAAAAg7Ftu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Ea1YhkXalVBjupUpCB0LCA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CB/gmx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wxMAAANMYWJlbAB8BgAABU1hbmFnZWRJZAAQAAAABKeIKEpdZPtAnMIW+Bfq5WQ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GAAAAUm93IDM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BgAAAFJvdyAzAAFIZWlnaHQAAAAAgPCcJkABV2lkdGgAAAAAQBtoP0ABVG9wAAAAAABOumxAAUxlZnQAAAAAgD16UE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UjAAAABSIAAAAkAAAA5w8AAAAAAAAAAAAA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N2dNoySxARMn/suGkOQLmEISGFzQ2hhbmdlcwAACFVzZU5hbWVJbnN0ZWFkT2ZUYWdBc0lkAAAIU2hhcGVQcmV2aW91c2x5Q3JlYXRlZAAB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4FF6i0ABVG9wAAAAACB/gmx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rEfBRkABWQAkSZIQ7FtuQAADRW5kABsAAAABWAAzMzPBzOyMQAFZACRJkhDsW25AAAJTdGFydEFycm93SGVhZAARAAAAbXNvQXJyb3doZWFkTm9uZQACRW5kQXJyb3dIZWFkABEAAABtc29BcnJvd2hlYWROb25lAAVNYW5hZ2VkSWQAEAAAAARKvA5f5ZnQRLyCYzXFL3vN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EC4gItAAVRvcAAAAAAg7FtuQAFMZWZ0AAAAAKBHwUZ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MAbUkAAARJdGVtcwAFAAAAAAJOYW1lAAYAAABSb3cgNAAISXNIaWdobGlnaHRlZAAAA1N0eWxlAAoE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JAAAAAUjAAAAJQAAAOcPAAAAAAAAAAAAAGFsdWUAAQFIZWlnaHQAAAAAAAAAAAACRGFzaFN0eWxlAA0AAABtc29MaW5lU29saWQAA0ZpbGxDb2xvcgBVAAAAEEEA/wAAABBSAEUAAAAQRwBZAAAAEEIAbgAAAAFTY0EAAAAAAAAA8D8BU2NSAAAAAMBBeK4/AVNjRwAAAACA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ANMZWZ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UmlnaH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MZWZ0Tm90ZXNSZW5kZXJJbmZvAEAUAAADTGFiZWwAcgYAAAVNYW5hZ2VkSWQAEAAAAAQRfMgQF3LWQLlBDFzX5Ndo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AC7s25AAUxlZnQAAAAAgJk5jUAIRmxpcEhvcml6b250YWxseQAACEZsaXBIb3Jpem9udGFsbHlBcHBsaWVkAAAIRmxpcFZlcnRpY2FsbHkAAAhGbGlwVmVydGljYWxseUFwcGxpZWQAAAFSb3RhdGlvbgAAAAAAAAAAAAFaT3JkZXIAAAAAAACAVUADQm9yZGVyQ29sb3IAVQAAABBBAAAAAAAQUgAAAAAAEEcAAAAAABBCAAAAAAABU2NBAAAAACUAAAAFJAAAACYAAADnDwAAAAAAAA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gKwqcEAAA0VuZAAbAAAAAVgAMzMzwczsjEABWQAAAACArCpwQAACU3RhcnRBcnJvd0hlYWQAEQAAAG1zb0Fycm93aGVhZE5vbmUAAkVuZEFycm93SGVhZAARAAAAbXNvQXJyb3doZWFkTm9uZQAFTWFuYWdlZElkABAAAAAEZrmHRpefB0SaHB/lXyi6d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KwqcE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QAe2cttzfQQbwACk5yko47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Ag7Htu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GPMm/1G5LZNtfSJ5eDMw8kISGFzQ2hhbmdlcwABCFVzZU5hbWVJbnN0ZWFkT2ZUYWdBc0lkAAAIU2hhcGVQcmV2aW91c2x5Q3JlYXRlZAAAA0ZpbGxDb2xvcgBVAAAAEEEAAAAAABBSAAAmAAAABSUAAAAnAAAA5w8AAAAAAAAAAA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AC7s25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CArCpwQAADRW5kABsAAAABWAAzMzPBzOyMQAFZAAAAAICsKnBAAAJTdGFydEFycm93SGVhZAARAAAAbXNvQXJyb3doZWFkTm9uZQACRW5kQXJyb3dIZWFkABEAAABtc29BcnJvd2hlYWROb25lAAVNYW5hZ2VkSWQAEAAAAAQcH5XRk2F9TZVy3S4ZMGr5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rCpw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JCjg2VDX6lAkNG6VQ3GCqA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JwAAAAUmAAAAKAAAAOcPAAAAAAAAAAAAAH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Ag7Htu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TGVmdFNpZGVSZW5kZXJJbmZvAMMTAAADTGFiZWwAfAYAAAVNYW5hZ2VkSWQAEAAAAAROPBkimjuiT6A3o4tIiNDG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gAAAFJvdyA0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YAAABSb3cgNAABSGVpZ2h0AAAAAIDwnCZAAVdpZHRoAAAAAEAbaD9AAVRvcAAAAAAAu7NuQAFMZWZ0AAAAAIA9elB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B5P3H5rRnxGhDKgZPAiLUgISGFzQ2hhbmdlcwAACFVzZU5hbWVJbnN0ZWFkT2ZUYWdBc0lkAAAIU2hhcGVQcmV2aW91c2x5Q3JlYXRlZAAB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4FF6i0ABVG9wAAAAACDse25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CgAAAAFJwAAACkAAADnDwAAAAAAAAAAAAB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KxHwUZAAVkAt23bhqwqcEAAA0VuZAAbAAAAAVgAMzMzwczsjEABWQC3bduGrCpwQAACU3RhcnRBcnJvd0hlYWQAEQAAAG1zb0Fycm93aGVhZE5vbmUAAkVuZEFycm93SGVhZAARAAAAbXNvQXJyb3doZWFkTm9uZQAFTWFuYWdlZElkABAAAAAEHb5MfyPrjEyyyVVlHe6Iq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AuICLQAFUb3AAAAAAgKwqcEABTGVmdAAAAACgR8FG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0AG1JAAAESXRlbXMABQAAAAACTmFtZQAGAAAAUm93IDUACElzSGlnaGxpZ2h0ZWQAAANTdHlsZQAKBA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MBBeK4/AVNjRwAAAACA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ANMZWZ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QpAAAABSgAAAAqAAAA5w8AAAAAAAAAAAAAQm9sZAAACElzRm9udEl0YWxpYwAACElzRm9udFVuZGVybGluZWQAAAAQSGFydmV5QmFsbFZhbHVlAAAAAAACQ2hlY2tCb3hTdGF0ZQAFAAAATm9uZQACVHJhZmZpY0xpZ2h0U3RhdGUABAAAAE9mZgAAA1JpZ2h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TGVmdE5vdGVzUmVuZGVySW5mbwBAFAAAA0xhYmVsAHIGAAAFTWFuYWdlZElkABAAAAAEx//GR3rEDkyDZggdymJ06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AAlFZw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AGMncUAAA0VuZAAbAAAAAVgAMzMzwczsjEABWQAAAAAAYydxQAACU3RhcnRBcnJvd0hlYWQAEQAAAG1zb0Fycm93aGVhZE5vbmUAAkVuZEFycm93SGVhZAARAAAAbXNvQXJyb3doZWFkTm9uZQAFTWFuYWdlZElkABAAAAAETxdTLk/e/k67kFJB95HhU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KgAAAAUpAAAAKwAAAOcPAAAAAAAAAAAAAAAAAABjJ3F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Aw1F//PqokiQq02e31r/iQ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gKw6cE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1JpZ2h0Tm90ZXNSZW5kZXJJbmZvAEAUAAADTGFiZWwAcgYAAAVNYW5hZ2VkSWQAEAAAAAQNPkS8SkguRqCaEPfVKKIP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ACUVnB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SsAAAAFKgAAACwAAADnDwAAAAAAAAAAAABYAM3MzFpm5oxAAVkAAAAAAGMncUAAA0VuZAAbAAAAAVgAMzMzwczsjEABWQAAAAAAYydxQAACU3RhcnRBcnJvd0hlYWQAEQAAAG1zb0Fycm93aGVhZE5vbmUAAkVuZEFycm93SGVhZAARAAAAbXNvQXJyb3doZWFkTm9uZQAFTWFuYWdlZElkABAAAAAE0cC00KM1rE2y1qM7IAA7y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AGMncU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SKerZPfHuEQZ8c2sqba5Jt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CArDpw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TGVmdFNpZGVSZW5kZXJJbmZvAMMTAAADTGFiZWwAfAYAAAVNYW5hZ2VkSWQAEAAAAATWgqiT0rqHS7f+80w68/7Y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gAAAFJvdyA1AAJUZXh0SG9yaXpvbnRhbEFsaWdubWVudAAOAAAAbXNvQW5jaG9yTm9uZQACVGV4dFZlcnRpY2FsQWxpZ24sAAAABSsAAAAtAAAA5w8AAAAAAAAAAAAA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GAAAAUm93IDUAAUhlaWdodAAAAACA8JwmQAFXaWR0aAAAAABAG2g/QAFUb3AAAAAAAJRWcEABTGVmdAAAAACAPXpQ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Sz563VGoodS6LY0P5+JneTCEhhc0NoYW5nZXMAAAhVc2VOYW1lSW5zdGVhZE9mVGFnQXNJZAAACFNoYXBlUHJldmlvdXNseUNyZWF0ZWQAAQ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OBReotAAVRvcAAAAACArDpwQAFMZWZ0AAAAAOB69EZ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KxHwUZAAVkA3LZtBWMncUAAA0VuZAAbAAAAAVgAMzMzwczsjEABWQDctm0FYydxQAACU3RhcnRBcnJvd0hlYWQAEQAAAG1zb0Fycm93aGVhZE5vbmUAAkVuZEFycm93SGVhZAARAAAAbXNvQXJyb3doZWFkTm9uZQAFTWFuYWdlZElkABAAAAAEtlWHf0K6aEu1rOD/38zaw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AuICLQAFUb3AAAAAAAGMncUABTGVmdAAAAACgR8FGQAhGbGlwSG9yaXpvbnRhbGx5AAAIRmxpcEhvcml6b250YWxseUFwcGxpZWQAAAhGbGlwVmVydGljYWxseQAACEZsaXBWZXJ0aWNhbGx5QXBwbGllZAAAAVJvdGF0aW9uAAAAAAAAAAAAAVpPcmRlcgAAAAAAAAAoQANCb3JkZXJDb2xvcgBVLQAAAAUsAAAALgAAAOcPAAAAAAAAAAAAAA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NQBtSQAABEl0ZW1zAAUAAAAAAk5hbWUABgAAAFJvdyA2AAhJc0hpZ2hsaWdodGVkAAADU3R5bGUACgQ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BFAAAAEEcAWQAAABBCAG4AAAABU2NBAAAAAAAAAPA/AVNjUgAAAADAQXiuPwFTY0cAAAAAgPaSuT8BU2NCAAAAAABm9cM/ABBGaWxsVGhlbWVDb2xvcgAAAAAAAUZpbGxUaW50QW5kU2hhZGUAAAAAAAAAAAADQm9yZGVyQ29sb3IAVQAAABBBAP8AAAAQUgDeAAAAEEcA3gAAABBCAN4AAAABU2NBAAAAAAAAAPA/AVNjUgAAAABA71/nPwFTY0cAAAAAQO9f5z8BU2NCAAAAAEDvX+c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ADTGVm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1JpZ2h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TGVmdE5vdGVzUmVuZGVySW5mbwBAFAAAA0xhYmVsAHIGAAAFTWFuYWdlZElkABAAAAAEE/ALelFBgEWnIaN/gjoPT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C4AAAAFLQAAAC8AAADnDwAAAAAAAAA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gEpTcU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IAZJHJAAANFbmQAGwAAAAFYADMzM8HM7IxAAVkAAAAAgBkkckAAAlN0YXJ0QXJyb3dIZWFkABEAAABtc29BcnJvd2hlYWROb25lAAJFbmRBcnJvd0hlYWQAEQAAAG1zb0Fycm93aGVhZE5vbmUABU1hbmFnZWRJZAAQAAAABMrWo2DHFidArg2ZxU+Ka+4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AZJHJ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BiR1S3x+s06N6132BgDaTA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vAAAABS4AAAAwAAAA5w8AAAAAAAAAAAAAAAFUb3AAAAAAAAAAAAABUmlnaHQAAAAAAAAAAAABQm90dG9tAAAAAAAAAAAAAAFIZWlnaHQAAAAA4M+WLUABV2lkdGgAAAAAAAAAAAABVG9wAAAAAABjN3F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SaWdodE5vdGVzUmVuZGVySW5mbwBAFAAAA0xhYmVsAHIGAAAFTWFuYWdlZElkABAAAAAEzIKdshKTF02XfQzJcoHb2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SlNx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gBkkckAAA0VuZAAbAAAAAVgAMzMzwczsjEABWQAAAACAGSRyQAACU3RhcnRBcnJvd0hlYWQAEQAAAG1zb0Fycm93aGVhZE5vbmUAAkVuZEFycm93SGVhZAARAAAAbXNvQXJyb3doZWFkTm9uZQAFTWFuYWdlZElkABAAAAAEiQuC7cvQc02cf0mJ+HAD9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Bkkck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MAAAAAUvAAAAMQAAAOcPAAAAAAAAAAAAA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SBY666ummUekEirgAo9o2A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AGM3cU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DDEwAAA0xhYmVsAHwGAAAFTWFuYWdlZElkABAAAAAEAHHJ0RgTpEKlSVmt/wLNC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YAAABSb3cgNg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GAAAAUm93IDYAAUhlaWdodAAAAACA8JwmQAFXaWR0aAAAAABAG2g/QAFUb3AAAAAAgEpTcUABTGVmdAAAAACAPXpQ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TvuLhcaU8pSYYIezTgS4v2CEhhc0NoYW5nZXMAAAhVc2VOYW1lSW5zdGVhZE9mVGFnQXNJZAAACFNoYXBlUHJldmlvdXNseUNyZWF0ZWQAAQ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TEAAAAFMAAAADIAAADnDwAAAAAAAAAAAAB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DgUXqLQAFUb3AAAAAAAGM3cUABTGVmdAAAAADgevRG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R8FGQAFZAAEAAIQZJHJAAANFbmQAGwAAAAFYADMzM8HM7IxAAVkAAQAAhBkkckAAAlN0YXJ0QXJyb3dIZWFkABEAAABtc29BcnJvd2hlYWROb25lAAJFbmRBcnJvd0hlYWQAEQAAAG1zb0Fycm93aGVhZE5vbmUABU1hbmFnZWRJZAAQAAAABPKD+mhresRAiN+si8uMKxU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QLiAi0ABVG9wAAAAAIAZJHJAAUxlZnQAAAAAoEfBRk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AAk5hbWUABgAAAEV4aXYyAAJTdW1tYXJ5TGFiZWwAAQAAAAAISXNMYWJlbEluc2lkZUJvdW5kcwAAAkxhYmVsUG9zaXRpb24ABQAAAExlZnQACElzSGlnaGxpZ2h0ZWQAAANMZWZ0U2lkZVN0eWxlAAoEAAABRGVmYXVsdEZvbnRTaXplAAAAAAAAACRAAUZvbnRTaXplAAAAAAAAACh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QhJc0ZvbnRJdGFsaWMyAAAABTEAAAAzAAAA5w8AAAAAAAAAAAAAAAAISXNGb250VW5kZXJsaW5lZAAAAANTdW1tYXJ5U3R5bGUACgQAAAFEZWZhdWx0Rm9udFNpemUAAAAAAAAAJEABRm9udFNpemUAAAAAAAAAJEADRm9udENvbG9yAFUAAAAQQQD/AAAAEFIA/wAAABBHAP8AAAAQQgD/AAAAAVNjQQAAAAAAAADwPwFTY1IAAAAAAAAA8D8BU2NHAAAAAAAAAPA/AVNjQgAAAAAAAADwPw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P8AAAAQRwD/AAAAEEIA/wAAAAFTY0EAAAAAAAAA8D8BU2NSAAAAAAAAAPA/AVNjRwAAAAAAAADwPwFTY0IAAAAAAAAA8D8ACERhdGFTdHlsZUZvbnRDb2xvckhhc1ZhbHVlAAEBSGVpZ2h0AKW8qfL//ydAAkRhc2hTdHlsZQANAAAAbXNvTGluZVNvbGlkAANGaWxsQ29sb3IAVQAAABBBAP8AAAAQUgAUAAAAEEcAggAAABBCAKwAAAABU2NBAAAAAAAAAPA/AVNjUgAAAAAgOKd8PwFTY0cAAAAA4LuSzD8BU2NCAAAAACAZZ9o/ABBGaWxsVGhlbWVDb2xvcgAFAAAAAUZpbGxUaW50QW5kU2hhZGUAAAAAAAAA0L8DQm9yZGVyQ29sb3IAVQAAABBBAP8AAAAQUgAUAAAAEEcAggAAABBCAKwAAAABU2NBAAAAAAAAAPA/AVNjUgAAAAAgOKd8PwFTY0cAAAAA4LuSzD8BU2NCAAAAACAZZ9o/ABBCb3JkZXJUaGVtZUNvbG9yAAUAAAABQm9yZGVyVGludEFuZFNoYWRlAAAAAAAAANC/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AIRGlzcGxheUxhYmVsAAEIRGlzcGxheVN1bW1hcnkAAQhJc0NvbGxhcHNlZ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SaWdo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0xlZnROb3Rlc1JlbmRlckluZm8AQBQAAANMYWJlbAByBgAABU1hbmFnZWRJZAAQAAAABMVK/zqYMcFIim72tmd3OlI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MwAAAAUyAAAANAAAAOcPAAAAAA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CAHzmZ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gpW9oQAADRW5kABsAAAABWAAzMzPBzOyMQAFZAAAAACClb2hAAAJTdGFydEFycm93SGVhZAARAAAAbXNvQXJyb3doZWFkTm9uZQACRW5kQXJyb3dIZWFkABEAAABtc29BcnJvd2hlYWROb25lAAVNYW5hZ2VkSWQAEAAAAAQWclu+0sH8SYb4NQFygcD9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gpW9o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JXW/mMgRVJEgsNrhOPBHiI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kABV2lkdGgAAAAAAAAAAAABVG9wAAAAACA4hmZ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zQAAAAFMwAAADUAAADnDwAAAAAAAAAAAAB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PfQJ3K9LBpIhupPeQAoEyw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IAfOZk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CClb2hAAANFbmQAGwAAAAFYADMzM8HM7IxAAVkAAAAAIKVvaEAAAlN0YXJ0QXJyb3dIZWFkABEAAABtc29BcnJvd2hlYWROb25lAAJFbmRBcnJvd0hlYWQAEQAAAG1zb0Fycm93aGVhZE5vbmUABU1hbmFnZWRJZAAQAAAABCdYkWYAMbFLkGyHVdFcTG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CClb2h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yrzTS0PoD0yggoRal9jjkghIYXNDaGFuZ2VzAAEIVXNlTmFtZUluc3RlYWRPZlRhZ0FzSWQAAAhTaGFwZVByZXZpb3VzbHlDcmVhdGVkAAADRmlsbENvbG9yAFUAAAAQQQD/AAAAEFIARQAAABBHAFkAAAAQQgBuAAAAAVNjQQAAAAAAAADwPwFTY1IAAAAAwEF4rj8BU2NHAAAAAID2krk/AVNjQgAAAAAAZvXDPwAQRmlsbFQ1AAAABTQAAAA2AAAA5w8AAAAAAAAAAAAA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kABV2lkdGgAAAAAAAAAAAABVG9wAAAAACA4hmZ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wBMAAANMYWJlbAB5BgAABU1hbmFnZWRJZAAQAAAABI+KZVX2HgdLoioQB7/ztDk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GAAAARXhpdjIAAlRleHRIb3Jpem9udGFsQWxpZ25tZW50AA4AAABtc29BbmNob3JOb25lAAJUZXh0VmVydGljYWxBbGlnbm1lbnQADQAAAG1zb0FuY2hvclRvcAADRm9udFN0eWxlAEEBAAAQRm9udEJhY2tncm91bmQAAAAAAAhGb250Qm9sZAAB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BgAAAEV4aXYyAAFIZWlnaHQAAAAAIIo2KkABV2lkdGgAAAAAgD0qQUABVG9wAAAAAEA6tWZAAUxlZnQAAAAA4Hr0S0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XXg2rm1iCE6Ivm7beVIbLQhIYXNDaGFuZ2VzAAAIVXNlTmFtZUluc3RlYWRPZlRhZ0FzSWQAAAhTaGFwZVByZXZpb3VzbHlDcmVhdGVkAAE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NgAAAAU1AAAANwAAAOcPAAAAAAAAAAAAAAAACEZvbnRTdWJzY3JpcHQAAAhGb250U3VwZXJzY3JpcHQAAAhGb250VW5kZXJsaW5lAAAACFNpemVUb1RleHRXaWR0aAAACFNpemVUb1RleHRIZWlnaHQAAANUZXh0TWFyZ2luAD8AAAABTGVmdAAAAAAAAAAAAAFUb3AAAAAAAAAAAAABUmlnaHQAAAAAAAAAAAABQm90dG9tAAAAAAAAAAAAAAFIZWlnaHQAAAAA4M+WLkABV2lkdGgAAAAA4FF6i0ABVG9wAAAAACA4hmZ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rEfBRkABWQBJkiQZpW9oQAADRW5kABsAAAABWAAzMzPBzOyMQAFZAEmSJBmlb2hAAAJTdGFydEFycm93SGVhZAARAAAAbXNvQXJyb3doZWFkTm9uZQACRW5kQXJyb3dIZWFkABEAAABtc29BcnJvd2hlYWROb25lAAVNYW5hZ2VkSWQAEAAAAAQzHK9V16PiQYGqCyzAtgH8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EC4gItAAVRvcAAAAAAgpW9oQAFMZWZ0AAAAAKBHwUZ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U3VtbWFyeVJlbmRlckluZm8ArgwAAANSZWN0YW5nbGUAWgYAAAJBdXRvU2hhcGVUeXBlAAoAAABSZWN0YW5nbGUABU1hbmFnZWRJZAAQAAAABG9s98yzDilEtOD3XNKR9uA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IDrsXRAAUxlZnQAAAAAQOFYf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TcAAAAFNgAAADgAAADnDwAAAAAAAAAAAABBZnRlcgAACExpbmVSdWxlQmVmb3JlAAAITGluZVJ1bGVXaXRoaW4AAAFSaWdodEluZGVudAAAAAAAAAAAAAFTcGFjZUFmdGVyAAAAAAAAAAAAAVNwYWNlQmVmb3JlAAAAAAAAAAAAAVNwYWNlV2l0aGluAAAAAAAAAAAAAANMYWJlbAA9BgAABU1hbmFnZWRJZAAQAAAABKRT+dxNbnpLl02cMRZ/mmM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IDrsXRAAUxlZnQAAAAAQOFYf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UZXh0SG9yaXpvbnRhbEFsaWdubWVudAAOAAAAbXNvQW5jaG9yTm9uZQAAAzEAjRMCAARSb3dzAKW4AQADMABtSQAABEl0ZW1zAAUAAAAAAk5hbWUABgAAAFJvdyAxAAhJc0hpZ2hsaWdodGVkAAADU3R5bGUACgQ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BFAAAAEEcAWQAAABBCAG4AAAABU2NBAAAAAAAAAPA/AVNjUgAAAADAQXiuPwFTY0cAAAAAgPaSuT8BU2NCAAAAAABm9cM/ABBGaWxsVGhlbWVDb2xvcgAAAAAAAUZpbGxUaW50QW5kU2hhZGUAAAAAAAAAAAADQm9yZGVyQ29sb3IAVQAAABBBAP8AAAAQUgDeAAAAEEcA3gAAABBCAN4AAAABU2NBAAAAAAAAAPA/AVNjUgAAAABA71/nPwFTY0cAAAAAQO9f5z8BU2NCAAAAAEDvX+c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ADTGVm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1JpZ2h0Tm90ZXMASQQAAANUZXh0U3R5bGUA8QMAAAFEZWZhdWx0Rm9udFNpemUAAAAAAAAAJEABRm9udFNpemUAAAAAAAAAJEADRm9udEM4AAAABTcAAAA5AAAA5w8AAAAAAAAAAAAA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0xlZnROb3Rlc1JlbmRlckluZm8AQBQAAANMYWJlbAByBgAABU1hbmFnZWRJZAAQAAAABMoplLwe4xBCpAz+SBJ14Xg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gLdMc0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ICGHXRAAANFbmQAGwAAAAFYADMzM8HM7IxAAVkAAAAAgIYddEAAAlN0YXJ0QXJyb3dIZWFkABEAAABtc29BcnJvd2hlYWROb25lAAJFbmRBcnJvd0hlYWQAEQAAAG1zb0Fycm93aGVhZE5vbmUABU1hbmFnZWRJZAAQAAAABEeyAq5n+TRPs6IyP2jzgZ4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CGHXRAAUxlZnQAAAAAYGbmjEAIRmxpcEhvcml6b250YWxseQAACEZsaXBIb3Jpem9udGFsbHlBcHBsaWVkAAAIRmxpcFZlcnRpY2FsbHkAAAhGbGlwVmVydGljYWxseUFwcGxpZWQAAAFSb3RhdGlvbgAAAAAAAAAAAAFaT3JkZXIAAAAAAACAVUADQm9yZGVyQ29sb3IAVQAAABBBAP8AAAAQUgDeAAAAEEcA3gAAABBCAN4AAAABU2NBAAAAOQAAAAU4AAAAOgAAAOcPAAAAAAAAAA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FQTIuhJbgxPo4ru8h7kNME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ADQMHN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SaWdodE5vdGVzUmVuZGVySW5mbwBAFAAAA0xhYmVsAHIGAAAFTWFuYWdlZElkABAAAAAEPi6be/+sk06oma+qXnBN0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t0xz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gIYddEAAA0VuZAAbAAAAAVgAMzMzwczsjEABWQAAAACAhh10QAACU3RhcnRBcnJvd0hlYWQAEQAAAG1zb0Fycm93aGVhZE5vbmUAAkVuZEFycm93SGVhZAARAAAAbXNvQXJyb3doZWFkTm9uZQAFTWFuYWdlZElkABAAAAAEI74cmD+k1ku2/Q4wCG45EwhIYXNDaGFuZ2VzAAEIVXNlTmFtZUluc3RlYWRPZlRhZ0FzSToAAAAFOQAAADsAAADnDwAAAAAAAAAAAAB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CGHXR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CwWjV3TwnUqsZUVtxvnQ9Q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ANAwc0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DDEwAAA0xhYmVsAHwGAAAFTWFuYWdlZElkABAAAAAE5uomZ8b2SEaBh4GMtHti+Q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YAAABSb3cgMQ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k7AAAABToAAAA8AAAA5w8AAAAAAAAAAAAA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BgAAAFJvdyAxAAFIZWlnaHQAAAAAgPCcJkABV2lkdGgAAAAAQBtoP0ABVG9wAAAAAIC3THNAAUxlZnQAAAAAgD16UE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PsEC6a6+EUS2K4KFLOwbMQhIYXNDaGFuZ2VzAAAIVXNlTmFtZUluc3RlYWRPZlRhZ0FzSWQAAAhTaGFwZVByZXZpb3VzbHlDcmVhdGVkAAE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DgUXqLQAFUb3AAAAAAANAwc0ABTGVmdAAAAADgevRG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R8FGQAFZAEuSJIGGHXRAAANFbmQAGwAAAAFYADMzM8HM7IxAAVkAS5IkgYYddEAAAlN0YXJ0QXJyb3dIZWFkABEAAABtc29BcnJvd2hlYWROb25lAAJFbmRBcnJvd0hlYWQAEQAAAG1zb0Fycm93aGVhZE5vbmUABU1hbmFnZWRJZAAQAAAABPT/7iyKsyxMtHgsgT2eF58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QLiAi0ABVG9wAAAAAICGHXRAAUxlZnQAAAAAoEfBRk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PAAAAAU7AAAAPQAAAOcPAAAAAAAAAAAAAG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EAbUkAAARJdGVtcwAFAAAAAAJOYW1lAAYAAABSb3cgMgAISXNIaWdobGlnaHRlZAAAA1N0eWxlAAoE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SaWdo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0xlZnROb3Rlc1JlbmRlckluZm8AQBQAAANMYWJlbAByBgAABU1hbmFnZWRJZAAQAAAABKLakPFD3vRGksJ/0/dpYa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j0AAAAFPAAAAD4AAADnDwAAAAAAAAAAAAB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ABuSXR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APRp1QAADRW5kABsAAAABWAAzMzPBzOyMQAFZAAAAAAA9GnVAAAJTdGFydEFycm93SGVhZAARAAAAbXNvQXJyb3doZWFkTm9uZQACRW5kQXJyb3dIZWFkABEAAABtc29BcnJvd2hlYWROb25lAAVNYW5hZ2VkSWQAEAAAAAR+W///tytxSqHs92hqvGIp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APRp1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Gd1lU4ox91GkeCEck0PO+Q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ICGLXRAAUxlZnQAAAAAgJnhjEAIRmxpcEhvcml6b250YWxseQAACEZsaXBIb3Jpem9udGFsbHlBcHBsaWVkAAAIRmxpcFZlcnRpY2FsbHkAAAhGbGlwVmVydGljYWxseUFwcGxpZWQAAAFSb3Q+AAAABT0AAAA/AAAA5w8AAAAAAAAAAAAA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Os3ai5NO/dNqexzeFpd1Qo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AG5JdE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AA9GnVAAANFbmQAGwAAAAFYADMzM8HM7IxAAVkAAAAAAD0adUAAAlN0YXJ0QXJyb3dIZWFkABEAAABtc29BcnJvd2hlYWROb25lAAJFbmRBcnJvd0hlYWQAEQAAAG1zb0Fycm93aGVhZE5vbmUABU1hbmFnZWRJZAAQAAAABM6R6Po3cTZNg4I2mrzubf4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A9GnV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PwAAAAU+AAAAQAAAAOcPAAAAAAAAAAAAAAoAAABSZWN0YW5nbGUABU1hbmFnZWRJZAAQAAAABF2dU1KvBd9PiYnd78dLMCY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ICGLXR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wxMAAANMYWJlbAB8BgAABU1hbmFnZWRJZAAQAAAABIqkSxEQW4RHh9gHoZd5JQ0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GAAAAUm93IDI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BgAAAFJvdyAyAAFIZWlnaHQAAAAAgPCcJkABV2lkdGgAAAAAQBtoP0ABVG9wAAAAAABuSXRAAUxlZnQAAAAAgD16UE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bKt6nclMz0GfZl3BwCl72AhIYXNDaGFuZ2VzAAAIVXNlTmFtZUluc3RlYWRPZlRhZ0FzSWQAAAhTaGFwZVByZXZpb3VzbHlDcmVhdGVkAAE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EAAAAAFPwAAAEEAAADnDwAAAAAAAAAAAAB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4FF6i0ABVG9wAAAAAICGLXR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rEfBRkABWQBw27b/PBp1QAADRW5kABsAAAABWAAzMzPBzOyMQAFZAHDbtv88GnVAAAJTdGFydEFycm93SGVhZAARAAAAbXNvQXJyb3doZWFkTm9uZQACRW5kQXJyb3dIZWFkABEAAABtc29BcnJvd2hlYWROb25lAAVNYW5hZ2VkSWQAEAAAAATgkW8520UYTbBroSymw3ZY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EC4gItAAVRvcAAAAAAAPRp1QAFMZWZ0AAAAAKBHwUZ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IAbUkAAARJdGVtcwAFAAAAAAJOYW1lAAYAAABSb3cgMwAISXNIaWdobGlnaHRlZAAAA1N0eWxlAAoE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BAAAABUAAAABCAAAA5w8AAAAAAAAAAAAA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UmlnaH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MZWZ0Tm90ZXNSZW5kZXJJbmZvAEAUAAADTGFiZWwAcgYAAAVNYW5hZ2VkSWQAEAAAAARz//GDxyVWQKip0+T6ydM4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IAkRnV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CA8xZ2QAADRW5kABsAAAABWAAzMzPBzOyMQAFZAAAAAIDzFnZAAAJTdGFydEFycm93SGVhZAARAAAAbXNvQXJyb3doZWFkTm9uZQACRW5kQXJyb3dIZWFkABEAAABtc29BcnJvd2hlYWROb25lAAVNYW5hZ2VkSWQAEAAAAAQSF7lf0QXSSrZ6f1JC321v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QgAAAAVBAAAAQwAAAOcPAAAAAAAAAAAAA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PMWdk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RnOW2bI94SS6OVBi/iSK4l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AAPSp1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CCjyfe2SLNCs0b1PeU/LFo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EMAAAAFQgAAAEQAAADnDwAAAAAAAAAAAAB0aAAACFNpemVUb1RleHRIZWlnaHQAAANUZXh0TWFyZ2luAD8AAAABTGVmdAAAAAAAAAAAAAFUb3AAAAAAAAAAAAABUmlnaHQAAAAAAAAAAAABQm90dG9tAAAAAAAAAAAAAAJEaXNwbGF5VGV4dAABAAAAAAFIZWlnaHQAAAAAgPCcJkABV2lkdGgAAAAAgML1KEABVG9wAAAAAIAkRnV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CA8xZ2QAADRW5kABsAAAABWAAzMzPBzOyMQAFZAAAAAIDzFnZAAAJTdGFydEFycm93SGVhZAARAAAAbXNvQXJyb3doZWFkTm9uZQACRW5kQXJyb3dIZWFkABEAAABtc29BcnJvd2hlYWROb25lAAVNYW5hZ2VkSWQAEAAAAARZOark1GYTR5rwsr/x+L2r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8xZ2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J/XtSsYsOVKkonvC0IVROc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AA9KnV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JEAAAABUMAAABFAAAA5w8AAAAAAAAAAAAAAAAAAAAAAAAAAVNwYWNlQmVmb3JlAAAAAAAAAAAAAVNwYWNlV2l0aGluAAAAAAAAAAAAAARUcmFmZmljTGlnaHREYXRhAAUAAAAABEhhcnZleUJhbGxEYXRhAAUAAAAAEEhhcnZleUJhbGxWYWx1ZQAAAAAAAlRyYWZmaWNMaWdodFN0YXRlAAQAAABPZmYABENoZWNrQm94RGF0YQAFAAAAAAJDaGVja0JveFN0YXRlAAUAAABOb25lAAADTGVmdFNpZGVSZW5kZXJJbmZvAMMTAAADTGFiZWwAfAYAAAVNYW5hZ2VkSWQAEAAAAARYy16jbTlSQ4puUSuEInvU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gAAAFJvdyAz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YAAABSb3cgMwABSGVpZ2h0AAAAAIDwnCZAAVdpZHRoAAAAAEAbaD9AAVRvcAAAAACAJEZ1QAFMZWZ0AAAAAIA9elB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P8QODQNskRAlnr56cSY+r8ISGFzQ2hhbmdlcwAACFVzZU5hbWVJbnN0ZWFkT2ZUYWdBc0lkAAAIU2hhcGVQcmV2aW91c2x5Q3JlYXRlZAAB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4FF6i0ABVG9wAAAAAAA9KnV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rEfBRkABWQCVJEl+8xZ2QAADRW5kABsAAAABWAAzMzPBzOyMQAFZAJUkSX7zFnZAAAJTdGFydEFycm93SGVhZAARAAAAbXNvQXJyb3doZWFkTm9uZQACRW5kQXJyb3dIZWFkABEAAABtc29BcnJvd2hlYWROb25lAAVNYW5hZ2VkSWQAEAAAAARytGS0c5iSTYvSaxJIZNaj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RQAAAAVEAAAARgAAAOcPAAAAAAAAAAAA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AuICLQAFUb3AAAAAAgPMWdkABTGVmdAAAAACgR8FG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zAG1JAAAESXRlbXMABQAAAAACTmFtZQAGAAAAUm93IDQACElzSGlnaGxpZ2h0ZWQAAANTdHlsZQAKBA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MBBeK4/AVNjRwAAAACA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ANMZWZ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UmlnaH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kYAAAAFRQAAAEcAAADnDwAAAAAAAAAAAAB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TGVmdE5vdGVzUmVuZGVySW5mbwBAFAAAA0xhYmVsAHIGAAAFTWFuYWdlZElkABAAAAAEhTl4NCzVLEqUMKHXY5mt6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AA20J2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AKoTd0AAA0VuZAAbAAAAAVgAMzMzwczsjEABWQAAAAAAqhN3QAACU3RhcnRBcnJvd0hlYWQAEQAAAG1zb0Fycm93aGVhZE5vbmUAAkVuZEFycm93SGVhZAARAAAAbXNvQXJyb3doZWFkTm9uZQAFTWFuYWdlZElkABAAAAAELAXDFMvT1kSLsKMHbyVwz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AKoTd0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SOFH/Mdg3hQqkHlFz/6UcQCEhhc0NoYW5nZXMAAQhVc2VOYW1lSW5zdGVhZE9mVGFnQXNJZAAACFNoYXBlUHJldmlvdXNseUNyZWF0ZWQAAANGaWxsQ29sb3IAVQAAABBBAP8AAAAQUgBFAAAAEEcAWQAAABBCAG4AAAABU2NBAAAAAAAAAPA/AVNjUgAAAABHAAAABUYAAABIAAAA5w8AAAAAAAA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gPMmdk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1JpZ2h0Tm90ZXNSZW5kZXJJbmZvAEAUAAADTGFiZWwAcgYAAAVNYW5hZ2VkSWQAEAAAAATsl1wzfikHQ5dCXzN48rW+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ADbQnZ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AqhN3QAADRW5kABsAAAABWAAzMzPBzOyMQAFZAAAAAACqE3dAAAJTdGFydEFycm93SGVhZAARAAAAbXNvQXJyb3doZWFkTm9uZQACRW5kQXJyb3dIZWFkABEAAABtc29BcnJvd2hlYWROb25lAAVNYW5hZ2VkSWQAEAAAAARQf7KPkFRXSZlc3MWwaUTP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SAAAAAVHAAAASQAAAOcPAAAAAA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AKoTd0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SJ0GxqL/XGRaBG2K9imcnD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CA8yZ2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TGVmdFNpZGVSZW5kZXJJbmZvAMMTAAADTGFiZWwAfAYAAAVNYW5hZ2VkSWQAEAAAAAScdpu3MJ3MRYmeNt+rHtoY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gAAAFJvdyA0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YAAABSb3cgNAABSGVpZ2h0AAAAAIDwnCZAAVdpZHRoAAAAAEAbaD9AAVRvcAAAAAAA20J2QAFMZWZ0AAAAAIA9elB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EkAAAAFSAAAAEoAAADnDwAAAAAAAAA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RONc194eD0Q7s4SpD84Cd5CEhhc0NoYW5nZXMAAAhVc2VOYW1lSW5zdGVhZE9mVGFnQXNJZAAACFNoYXBlUHJldmlvdXNseUNyZWF0ZWQAAQ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OBReotAAVRvcAAAAACA8yZ2QAFMZWZ0AAAAAOB69EZ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KxHwUZAAVkAum3b/KkTd0AAA0VuZAAbAAAAAVgAMzMzwczsjEABWQC6bdv8qRN3QAACU3RhcnRBcnJvd0hlYWQAEQAAAG1zb0Fycm93aGVhZE5vbmUAAkVuZEFycm93SGVhZAARAAAAbXNvQXJyb3doZWFkTm9uZQAFTWFuYWdlZElkABAAAAAE5LuxJrA/40qsW/o3PUKjz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AuICLQAFUb3AAAAAAAKoTd0ABTGVmdAAAAACgR8FG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0AG1JAAAESXRlbXMABQAAAAACTmFtZQAGAAAAUm93IDUACElzSGlnaGxpZ2h0ZWQAAANTdHlsZQAKBA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KAAAABUkAAABLAAAA5w8AAAAAAAAAAAAA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BFAAAAEEcAWQAAABBCAG4AAAABU2NBAAAAAAAAAPA/AVNjUgAAAADAQXiuPwFTY0cAAAAAgPaSuT8BU2NCAAAAAABm9cM/ABBGaWxsVGhlbWVDb2xvcgAAAAAAAUZpbGxUaW50QW5kU2hhZGUAAAAAAAAAAAADQm9yZGVyQ29sb3IAVQAAABBBAP8AAAAQUgDeAAAAEEcA3gAAABBCAN4AAAABU2NBAAAAAAAAAPA/AVNjUgAAAABA71/nPwFTY0cAAAAAQO9f5z8BU2NCAAAAAEDvX+c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ADTGVm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1JpZ2h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TGVmdE5vdGVzUmVuZGVySW5mbwBAFAAAA0xhYmVsAHIGAAAFTWFuYWdlZElkABAAAAAEd1M8gwEkZEODTaR/5mmUNA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kT93QAFMZWZ0AAAAAICZOY1ASwAAAAVKAAAATAAAAOcPAAAAAAAAAAAAA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IBgEHhAAANFbmQAGwAAAAFYADMzM8HM7IxAAVkAAAAAgGAQeEAAAlN0YXJ0QXJyb3dIZWFkABEAAABtc29BcnJvd2hlYWROb25lAAJFbmRBcnJvd0hlYWQAEQAAAG1zb0Fycm93aGVhZE5vbmUABU1hbmFnZWRJZAAQAAAABPwv/N7i96FEqZ89+io2Eyw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BgEHh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6XpDiVRJDkWVT8kmj8oIqA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AKojd0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EwAAAAFSwAAAE0AAADnDwAAAAAAAAAAAABhdGUABQAAAE5vbmUAAANSaWdodE5vdGVzUmVuZGVySW5mbwBAFAAAA0xhYmVsAHIGAAAFTWFuYWdlZElkABAAAAAEDnMyt3fnXU61wcOsNHwfm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kT93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gGAQeEAAA0VuZAAbAAAAAVgAMzMzwczsjEABWQAAAACAYBB4QAACU3RhcnRBcnJvd0hlYWQAEQAAAG1zb0Fycm93aGVhZE5vbmUAAkVuZEFycm93SGVhZAARAAAAbXNvQXJyb3doZWFkTm9uZQAFTWFuYWdlZElkABAAAAAEWPlbCAbOd0KIdBx1NKJeC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GAQeE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RSduLHK0TRS7mq/QG7VWSD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RNAAAABUwAAABOAAAA5w8AAAAAAAAAAAAA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AKojd0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DDEwAAA0xhYmVsAHwGAAAFTWFuYWdlZElkABAAAAAExuppUxh7hkC8/wkVJSWnU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YAAABSb3cgNQ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GAAAAUm93IDUAAUhlaWdodAAAAACA8JwmQAFXaWR0aAAAAABAG2g/QAFUb3AAAAAAgJE/d0ABTGVmdAAAAACAPXpQ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SoZKh53zRORbzTuo9DpPC7CEhhc0NoYW5nZXMAAAhVc2VOYW1lSW5zdGVhZE9mVGFnQXNJZAAACFNoYXBlUHJldmlvdXNseUNyZWF0ZWQAAQ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OBReotAAVRvcAAAAAAAqiN3QAFMZWZ0AAAAAOB69EZACEZsaXBIb3Jpem9udGFsbHkAAAhGbGlwSG9yaXpvbnRhbGx5QXBwbGllZAAACEZsaXBWZXJ0aWNhbGx5AAAIRmxpcFZlcnRpY2FsbHlBcHBsaWVkAAABUm90YXRpb24AAAAAAAAAAAABWk9yZGVyAAAAAAAAACZAA0JvcmRlckNvbG9yAFUAAAAQQQAAAAAAEFIAAAAAABBHAAAATgAAAAVNAAAATwAAAOcPAAAAAAAAAA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R8FGQAFZAN+2bXtgEHhAAANFbmQAGwAAAAFYADMzM8HM7IxAAVkA37Zte2AQeEAAAlN0YXJ0QXJyb3dIZWFkABEAAABtc29BcnJvd2hlYWROb25lAAJFbmRBcnJvd0hlYWQAEQAAAG1zb0Fycm93aGVhZE5vbmUABU1hbmFnZWRJZAAQAAAABEbiuJM1qhpPvX+YRSQEtWM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QLiAi0ABVG9wAAAAAIBgEHhAAUxlZnQAAAAAoEfBRk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NQBtSQAABEl0ZW1zAAUAAAAAAk5hbWUABgAAAFJvdyA2AAhJc0hpZ2hsaWdodGVkAAADU3R5bGUACgQ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BFAAAAEEcAWQAAABBCAG4AAAABU2NBAAAAAAAAAPA/AVNjUgAAAADAQXiuPwFTY0cAAAAAgPaSuT8BU2NCAAAAAABm9cM/ABBGaWxsVGhlbWVDb2xvcgAAAAAAAUZpbGxUaW50QW5kU2hhZGUAAAAAAAAAAAADQm9yZGVyQ29sb3IAVQAAABBBAP8AAAAQUgDeAAAAEEcA3gAAABBCAN4AAAABU2NBAAAAAAAAAPA/AVNjUgAAAABA71/nPwFTY0cAAAAAQO9f5z8BU2NCAAAAAEDvX+c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ADTGVm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k8AAAAFTgAAAFAAAADnDwAAAAAAAAAAAAB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SaWdo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0xlZnROb3Rlc1JlbmRlckluZm8AQBQAAANMYWJlbAByBgAABU1hbmFnZWRJZAAQAAAABInISAW+DOpLhP/6BUnG8p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AEg8eE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AAXDXlAAANFbmQAGwAAAAFYADMzM8HM7IxAAVkAAAAAABcNeUAAAlN0YXJ0QXJyb3dIZWFkABEAAABtc29BcnJvd2hlYWROb25lAAJFbmRBcnJvd0hlYWQAEQAAAG1zb0Fycm93aGVhZE5vbmUABU1hbmFnZWRJZAAQAAAABBx6sZ8dQo5GqGxuLlePCnc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QAAAABU8AAABRAAAA5w8AAAAAAAAAAAAAc2NyaXB0AAAIRm9udFVuZGVybGluZQAAAAhTaXplVG9UZXh0V2lkdGgAAAhTaXplVG9UZXh0SGVpZ2h0AAADVGV4dE1hcmdpbgA/AAAAAUxlZnQAAAAAAAAAAAABVG9wAAAAAAAAAAAAAVJpZ2h0AAAAAAAAAAAAAUJvdHRvbQAAAAAAAAAAAAABSGVpZ2h0AAAAAAAAAAAAAVdpZHRoAAAAAKCZmek/AVRvcAAAAAAAFw15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DLMZYpD/XRAhtlAb7FSeeg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IBgIHh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SaWdodE5vdGVzUmVuZGVySW5mbwBAFAAAA0xhYmVsAHIGAAAFTWFuYWdlZElkABAAAAAE6127yE5RaEiCTdYq6X+MX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AASDx4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UQAAAAVQAAAAUgAAAOcPAAAAAAAAAAAAAAAAAAAAAAAACExpbmVSdWxlQWZ0ZXIAAAhMaW5lUnVsZUJlZm9yZQAACExpbmVSdWxlV2l0aGluAAABUmlnaHRJbmRlbnQAAAAAAAAAAAABU3BhY2VBZnRlcgAAAAAAAAAAAAFTcGFjZUJlZm9yZQAAAAAAAAAAAAFTcGFjZVdpdGhpbgAAAAAAAAAAAAADU2VwYXJhdG9yTGluZQDHBgAAA1N0YXJ0ABsAAAABWADNzMxaZuaMQAFZAAAAAAAXDXlAAANFbmQAGwAAAAFYADMzM8HM7IxAAVkAAAAAABcNeUAAAlN0YXJ0QXJyb3dIZWFkABEAAABtc29BcnJvd2hlYWROb25lAAJFbmRBcnJvd0hlYWQAEQAAAG1zb0Fycm93aGVhZE5vbmUABU1hbmFnZWRJZAAQAAAABF0J1UKaMHpFtGNKO8MVf1A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AXDXl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06LCgjKh4U2dS33WDq/iww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gGAgeE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DDEwAAA0xhYmVsAHwGAAAFTWFuYWdlZElkABAAAAAEEZyP3d8azEqceNYQMitEvQ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VIAAAAFUQAAAFMAAADnDwAAAAAAAAAAAABDb2xvcgAAAAAAAVBhdHRlcm5UaW50QW5kU2hhZGUAAAAAAAAAAAAIRmlsbFZpc2libGUAAAhWaXNpYmxlAAECRmlsbFBhdHRlcm4AEAAAAG1zb1BhdHRlcm5NaXhlZAACVGV4dAAGAAAAUm93IDY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BgAAAFJvdyA2AAFIZWlnaHQAAAAAgPCcJkABV2lkdGgAAAAAQBtoP0ABVG9wAAAAAABIPHhAAUxlZnQAAAAAgD16UE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SXgN52l0EkCG1kmki/dsxQhIYXNDaGFuZ2VzAAAIVXNlTmFtZUluc3RlYWRPZlRhZ0FzSWQAAAhTaGFwZVByZXZpb3VzbHlDcmVhdGVkAAE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DgUXqLQAFUb3AAAAAAgGAgeEABTGVmdAAAAADgevRG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R8FGQAFZAAQAAPoWDXlAAANFbmQAGwAAAAFYADMzM8HM7IxAAVkABAAA+hYNeUAAAlN0YXJ0QXJyb3dIZWFkABEAAABtc29BcnJvd2hlYWROb25lAAJFbmRBcnJvd0hlYWQAEQAAAG1zb0Fycm93aGVhZE5vbmUABU1hbmFnZWRJZAAQAAAABL8t3fXTrchNk+5oF4RL3f8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TAAAABVIAAABUAAAA5w8AAAAAAAAAAAAAZHRoAAAAAEC4gItAAVRvcAAAAAAAFw15QAFMZWZ0AAAAAKBHwUZ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JOYW1lAAkAAABSYXdTcGVlZAACU3VtbWFyeUxhYmVsAAEAAAAACElzTGFiZWxJbnNpZGVCb3VuZHMAAAJMYWJlbFBvc2l0aW9uAAUAAABMZWZ0AAhJc0hpZ2hsaWdodGVkAAADTGVmdFNpZGVTdHlsZQAKBAAAAURlZmF1bHRGb250U2l6ZQAAAAAAAAAkQAFGb250U2l6ZQAAAAAAAAAo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MBBeK4/AVNjRwAAAACA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EISXNGb250SXRhbGljAAAISXNGb250VW5kZXJsaW5lZAAAAANTdW1tYXJ5U3R5bGUACgQAAAFEZWZhdWx0Rm9udFNpemUAAAAAAAAAJEABRm9udFNpemUAAAAAAAAAJEADRm9udENvbG9yAFUAAAAQQQD/AAAAEFIA/wAAABBHAP8AAAAQQgD/AAAAAVNjQQAAAAAAAADwPwFTY1IAAAAAAAAA8D8BU2NHAAAAAAAAAPA/AVNjQgAAAAAAAADwPw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P8AAAAQRwD/AAAAEEIA/wAAAAFTY0EAAAAAAAAA8D8BU2NSAAAAAAAAAPA/AVNjRwAAAAAAAADwPwFTY0IAAAAAAAAA8D8ACERhdGFTdHlsZUZvbnRDb2xvckhhc1ZhbHVlAAEBSGVpZ2h0AKW8qfL//ydAAkRhc2hTdHlsZQANAAAAbXNvTGluZVNvbGlkAANGaWxsQ29sb3IAVQAAABBBAP8AAAAQUgAUAAAAEEcAggAAABBCAKwAAAABU2NBAAAAAAAAAPA/AVNjUgAAAAAgOKd8PwFTY0cAAAAA4LuSzD8BU2NCAAAAACAZZ9o/ABBGaWxsVGhlbWVDb2xvcgAFAAAAAUZpbGxUaW50QW5kU2hhZGUAAAAAAAAA0L8DQm9yZGVyQ29sb3IAVQAAABBBAP8AAAAQUgAUAAAAEEcAggAAABBCAKwAAAABU2NBAAAAAAAAAPA/AVNjUgAAAAAgOKd8PwFTY0cAAAAA4LuSzD8BU2NCAAAAACAZZ9o/ABBCb3JkZXJUaGVtZUNvbG9yAAUAAAABQm9yZGVyVGludEFuZFNoYWRlAAAAAAAAANC/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AIRGlzcGxheUxhYmVsAAEIRGlzcGxheVN1bW1hcnkAAQhJc0NvbGxhcHNlZ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SaWdodE5vdGVzAEkEAAADVGV4dFN0eWxlAPEDAAABRGVmYXVsdEZvbnRTaXplAAAAAAAAACRAAUZvbnRTaXplAAAAAAAAACRAA0ZvbnRDb2xvcgBVAAAAEEEA/wAAABBSAAAAAAAQRwAAAAAAEEIAAAAAVAAAAAVTAAAAVQAAAOcPAAAAAAAA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MZWZ0Tm90ZXNSZW5kZXJJbmZvAEAUAAADTGFiZWwAcgYAAAVNYW5hZ2VkSWQAEAAAAAQdlWrZoesNQqLrWHFufrM/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AABUHJ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A0CBzQAADRW5kABsAAAABWAAzMzPBzOyMQAFZAAAAAADQIHNAAAJTdGFydEFycm93SGVhZAARAAAAbXNvQXJyb3doZWFkTm9uZQACRW5kQXJyb3dIZWFkABEAAABtc29BcnJvd2hlYWROb25lAAVNYW5hZ2VkSWQAEAAAAATM1PH44lxuSaGE0g85+In8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A0CBz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lUAAAAFVAAAAFYAAADnDwAAAAAAAAAAAAA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S8APX+MlIkQ6ml2lCB0ayB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CAGTRy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NKmc9P/OZlPuHJKJ2qiLG0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AAFQck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ADQIHNAAANFbmQAGwAAAAFYADMzM8HM7IxAAVkAAAAAANAgc0AAAlN0YXJ0QXJyb3dIZWFkABEAAABtc29BcnJvd2hlYWROb25lAAJFbmRBcnJvd0hlYWQAEQAAAG1zb0Fycm93aGVhZE5vbmUABU1hbmFnZWRJZAAQAAAABEFUlw1cuhBJvrHRb/L5DBsISGFzQ2hhbmdlcwABCFVzZU5hbWVJbnN0ZWFkT2ZUYWdBc0lkAAAIU2hhcGVQcmV2aW91c2x5Q3JlYXRlZAAAA0ZpbGxDb2xWAAAABVUAAABXAAAA5w8AAAAAAAAAAAAA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A0CBz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JadQuyVUldLpwc8pp3cFZ4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IAZNHJ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xhMAAANMYWJlbAB/BgAABU1hbmFnZWRJZAAQAAAABMAo4Biuq+RLgQsf6XDtUew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JAAAAUmF3U3BlZWQAAlRleHRIb3Jpem9udGFsQWxpZ25tZW50AA4AAABtc29BbmNob3JOb25lAAJUZXh0VmVydGljYWxBbGlnbm1lbnQADQAAAG1zb0FuY2hvclRvcAADRm9udFN0eWxlAEEBAAAQRm9udEJhY2tncm91bmQAAAAAAAhGb250Qm9sZAABA0ZvbnRDb2xvcgBVAAAAEEEA/wAAABBSAAAAAAAQRwAAAAAAEEIAAAAAAAFTY0EAAAAAAAAA8D8BU2NSAAAAAAAAAAAAAVNjRwAAAAAAAAAAAAFTY0IAAAAAAAAAAAAAEEZvbnRUaGVtZUNvbG9yAAAAAAABRm9udFRpbnRBbmRTaGFkZQAAAAAAAAAAABBGb250U2NoZW1lQ29sb3IAVwAAAAVWAAAAWAAAAOcPAAAAAAAAAAAA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kAAABSYXdTcGVlZAABSGVpZ2h0AAAAACCKNipAAVdpZHRoAAAAACC/eE9AAVRvcAAAAACgmkNyQAFMZWZ0AAAAAOB69Et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ENeqja368dBsVyFJa19pi4ISGFzQ2hhbmdlcwAACFVzZU5hbWVJbnN0ZWFkT2ZUYWdBc0lkAAAIU2hhcGVQcmV2aW91c2x5Q3JlYXRlZAAB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4FF6i0ABVG9wAAAAAIAZNHJ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rEfBRkABWQAmSZIC0CBzQAADRW5kABsAAAABWAAzMzPBzOyMQAFZACZJkgLQIHNAAAJTdGFydEFycm93SGVhZAARAAAAbXNvQXJyb3doZWFkTm9uZQACRW5kQXJyb3dIZWFkABEAAABtc29BcnJvd2hlYWROb25lAAVNYW5hZ2VkSWQAEAAAAAQPAnBIPKDbTJPa+Q/N11OO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EC4gItAAVRvcAAAAAAA0CBzQAFMZWZ0AAAAAKBHwUZ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FgAAAAFVwAAAFkAAADnDwAAAAAAAAAAAAA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K4MAAADUmVjdGFuZ2xlAFoGAAACQXV0b1NoYXBlVHlwZQAKAAAAUmVjdGFuZ2xlAAVNYW5hZ2VkSWQAEAAAAARmj6ywpASnQZqqgVxV90Eb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CA67F0QAFMZWZ0AAAAAEDhWH5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A9BgAABU1hbmFnZWRJZAAQAAAABOdRNNe8J9RAlvTo7Bc4MHA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AAAAAAABVG9wAAAAAIDrsXRAAUxlZnQAAAAAQOFYfkAIRmxpcEhvcml6b250YWxseQAACEZsaXBIb3Jpem9udGFsbHlBcHBsaWVkAAAIRmxpcFZlcnRpY2FsbHkAAAhGbGlwVmVydGljYWxseUFwcGxpZWQAAAFSb3RhdGlvbgAAAAAAAAAAAAFaT3JkZXIAAAAAAAAAAA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JUZXh0SG9yaXpvbnRhbEFsaWdubWVudAAOAAAAbXNvQW5jaG9yTm9uZQAAAzIAkBMCAARSb3dzAKW4AQADMABtSQAABEl0ZW1zAAUAAAAAAk5hbWUABgAAAFJvdyAxAAhJc0hpZ2hsaWdodGVkAAADU3R5bGUACgQ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ZAAAABVgAAABaAAAA5w8AAAAAAAAAAAAA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SaWdo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0xlZnROb3Rlc1JlbmRlckluZm8AQBQAAANMYWJlbAByBgAABU1hbmFnZWRJZAAQAAAABHga/cwNpP5DlUBd08nilfQ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ALU1ekABTGVmdAAAAACAmTmNQAhGbGlwSG9yaXpvbnRhbGx5AAAIRmxpcEhvcml6b250YWxseUFwcGxpZWQAAAhGbGlwVmVydGljYWxseQAACEZsaXBWZXJ0aWNhbGx5QXBwbGllZAAAAVJvdGF0aW9uAAAAAAAAAAAAAVpPcmRlcgAAAAAAAIBVQANCb3JkZXJDb2xvcgBVAAAAEEEAAAAAABBSAAAAAAAQRwAAAAAAEEIAAAAAAAFTY0EAAAAAAAAAAAABU2NSAAAAWgAAAAVZAAAAWwAAAOcPAAAAAAAAAA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AhAZ7QAADRW5kABsAAAABWAAzMzPBzOyMQAFZAAAAAACEBntAAAJTdGFydEFycm93SGVhZAARAAAAbXNvQXJyb3doZWFkTm9uZQACRW5kQXJyb3dIZWFkABEAAABtc29BcnJvd2hlYWROb25lAAVNYW5hZ2VkSWQAEAAAAAQrgYozNuMaTaxrO6e/k88j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AhAZ7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Krrz3Bjyq9HmRSCnikaCCI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IDNGXp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SaWdodE5vdGVzUmVuZGVySW5mbwBAFAAAA0xhYmVsAHIGAAAFTWFuYWdlZElkABAAAAAEvefWXncHi0ewz3soasnA1ghIYXNDaGFuZ2VzAAEIVXNlTmFtZUluc3RlYWRPZlRhZ0FzSWQAAAhTaGFwZVByZXZpb3VzbHlDcmVhdGVkAAADRmlsbENvbG9yAFUAAAAQQQAAAAAAEFIAAAAAABBHAAAAAAAQQlsAAAAFWgAAAFwAAADnDwAAAAAAAAAAAAA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ALU1ek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ACEBntAAANFbmQAGwAAAAFYADMzM8HM7IxAAVkAAAAAAIQGe0AAAlN0YXJ0QXJyb3dIZWFkABEAAABtc29BcnJvd2hlYWROb25lAAJFbmRBcnJvd0hlYWQAEQAAAG1zb0Fycm93aGVhZE5vbmUABU1hbmFnZWRJZAAQAAAABJE95h0ElmxFnOm75IGK2II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CEBnt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gYht5p+xHUyH42MGgTwlqA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cAAAABVsAAABdAAAA5w8AAAAAAAAAAAAA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IDNGXp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wxMAAANMYWJlbAB8BgAABU1hbmFnZWRJZAAQAAAABBgkb7Wx3m1DhQfsIEtBtes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GAAAAUm93IDE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BgAAAFJvdyAxAAFIZWlnaHQAAAAAgPCcJkABV2lkdGgAAAAAQBtoP0ABVG9wAAAAAAC1NXpAAUxlZnQAAAAAgD16UE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3l1njSaOS0ivs1inHKeO7whIYXNDaGFuZ2VzAAAIVXNlTmFtZUluc3RlYWRPZlRhZ0FzSWQAAAhTaGFwZVByZXZpb3VzbHlDcmVhdGVkAAE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DgUXqLQAFUb3AAAAAAgM0ZekABTGVmdAAAAADgevRG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XQAAAAVcAAAAXgAAAOcPAAAAAAAAAAAAAG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rEfBRkABWQBOkiT3gwZ7QAADRW5kABsAAAABWAAzMzPBzOyMQAFZAE6SJPeDBntAAAJTdGFydEFycm93SGVhZAARAAAAbXNvQXJyb3doZWFkTm9uZQACRW5kQXJyb3dIZWFkABEAAABtc29BcnJvd2hlYWROb25lAAVNYW5hZ2VkSWQAEAAAAATdD35LTzjfRqM9d3BnWna+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EC4gItAAVRvcAAAAAAAhAZ7QAFMZWZ0AAAAAKBHwUZ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zEAbUkAAARJdGVtcwAFAAAAAAJOYW1lAAYAAABSb3cgMgAISXNIaWdobGlnaHRlZAAAA1N0eWxlAAoE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l4AAAAFXQAAAF8AAADnDwAAAAAAAAAAAAB0SXRhbGljAAAISXNGb250VW5kZXJsaW5lZAAAABBIYXJ2ZXlCYWxsVmFsdWUAAAAAAAJDaGVja0JveFN0YXRlAAUAAABOb25lAAJUcmFmZmljTGlnaHRTdGF0ZQAEAAAAT2ZmAAADUmlnaH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MZWZ0Tm90ZXNSZW5kZXJJbmZvAEAUAAADTGFiZWwAcgYAAAVNYW5hZ2VkSWQAEAAAAASAdf4b86N9QbB9UmXIxQ1x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IBrMnt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CAOgN8QAADRW5kABsAAAABWAAzMzPBzOyMQAFZAAAAAIA6A3xAAAJTdGFydEFycm93SGVhZAARAAAAbXNvQXJyb3doZWFkTm9uZQACRW5kQXJyb3dIZWFkABEAAABtc29BcnJvd2hlYWROb25lAAVNYW5hZ2VkSWQAEAAAAARGEgo6PGHtR779syD7RY0g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OgN8QAFMZWZfAAAABV4AAABgAAAA5w8AAAAAAAAAAAAA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QqpQ2rVwY3QL1GrDZHWYr6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AAhBZ7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LidDhwCb6JHrQNEYbLIeHI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gGsye0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YAAAAAVfAAAAYQAAAOcPAAAAAAAAAAAAAAAAAACAOgN8QAADRW5kABsAAAABWAAzMzPBzOyMQAFZAAAAAIA6A3xAAAJTdGFydEFycm93SGVhZAARAAAAbXNvQXJyb3doZWFkTm9uZQACRW5kQXJyb3dIZWFkABEAAABtc29BcnJvd2hlYWROb25lAAVNYW5hZ2VkSWQAEAAAAARXVO/9Qr71T6o9dVwePHcJ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OgN8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FXQxIUktghDnukrFmz6SB4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ACEFnt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wxMAAANMYWJlbAB8BgAABU1hbmFnZWRJZAAQAAAABLeEg/yUqZtCpcKfACCzxYI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GAAAAUm93IDIAAlRleHRIb3Jpem9udGFsQWxpZ25tZW50AA4AAABtc29BbmNob3JOb25lAAJUZXh0VmVydGljYWxBbGlnbm1lbnQAEAAAAG1zb2EAAAAFYAAAAGIAAADnDwAAAAAAAAAAAAB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YAAABSb3cgMgABSGVpZ2h0AAAAAIDwnCZAAVdpZHRoAAAAAEAbaD9AAVRvcAAAAACAazJ7QAFMZWZ0AAAAAIA9elB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NyEejd/o+ZInDk/0b9o7BgISGFzQ2hhbmdlcwAACFVzZU5hbWVJbnN0ZWFkT2ZUYWdBc0lkAAAIU2hhcGVQcmV2aW91c2x5Q3JlYXRlZAAB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4FF6i0ABVG9wAAAAAACEFnt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rEfBRkABWQBz27Z1OgN8QAADRW5kABsAAAABWAAzMzPBzOyMQAFZAHPbtnU6A3xAAAJTdGFydEFycm93SGVhZAARAAAAbXNvQXJyb3doZWFkTm9uZQACRW5kQXJyb3dIZWFkABEAAABtc29BcnJvd2hlYWROb25lAAVNYW5hZ2VkSWQAEAAAAAT3tFjJD/gMRI4Zi8FJcy7C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EC4gItAAVRvcAAAAACAOgN8QAFMZWZ0AAAAAKBHwUZACEZsaXBIb3Jpem9udGFsbHkAAAhGbGlwSG9yaXpvbnRhbGx5QXBwbGllZAAACEZsaXBWZXJ0aWNhbGx5AAAIRmxpcFZlcnRpY2FsbHlBcHBsaWVkAAABUm90YXRpb24AAAAAAAAAAAABWk9yZGVyAAAAAAAAAChAA0JvcmRlckNvbG9yAFUAAAAQQQD/AAAAEFJiAAAABWEAAABjAAAA5w8AAAAAAAAAAAAA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yAG1JAAAESXRlbXMABQAAAAACTmFtZQAGAAAAUm93IDMACElzSGlnaGxpZ2h0ZWQAAANTdHlsZQAKBA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MBBeK4/AVNjRwAAAACA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ANMZWZ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UmlnaH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MZWZ0Tm90ZXNSZW5kZXJJbmZvAEAUAAADTGFiZWwAcgYAAAVNYW5hZ2VkSWQAEAAAAATcp488200xRb/0PpIvIS6f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YwAAAAViAAAAZAAAAOcPAAAAAAAAAAAAAE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AAIi98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APH/fEAAA0VuZAAbAAAAAVgAMzMzwczsjEABWQAAAAAA8f98QAACU3RhcnRBcnJvd0hlYWQAEQAAAG1zb0Fycm93aGVhZE5vbmUAAkVuZEFycm93SGVhZAARAAAAbXNvQXJyb3doZWFkTm9uZQAFTWFuYWdlZElkABAAAAAEBx/S8HssskWoyqynup2yc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APH/fE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SuaymNT3b/S4Jbjo+2uWUy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GQAAAAFYwAAAGUAAADnDwAAAAAAAAAAAAAAAAFSaWdodAAAAAAAAAAAAAFCb3R0b20AAAAAAAAAAAAAAUhlaWdodAAAAADgz5YtQAFXaWR0aAAAAAAAAAAAAAFUb3AAAAAAgDoTfE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1JpZ2h0Tm90ZXNSZW5kZXJJbmZvAEAUAAADTGFiZWwAcgYAAAVNYW5hZ2VkSWQAEAAAAAQf6VMkdYSdTZmYu1b9Dmsc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gPCcJkABV2lkdGgAAAAAgML1KEABVG9wAAAAAAAiL3x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AA8f98QAADRW5kABsAAAABWAAzMzPBzOyMQAFZAAAAAADx/3xAAAJTdGFydEFycm93SGVhZAARAAAAbXNvQXJyb3doZWFkTm9uZQACRW5kQXJyb3dIZWFkABEAAABtc29BcnJvd2hlYWROb25lAAVNYW5hZ2VkSWQAEAAAAASD3ywz/+QoQY8bFwV4PEzH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AA8f98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AAAABWQAAABmAAAA5w8AAAAAAAAAAAAA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RCUL7mlISUTroLmpjITaqs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CAOhN8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RUcmFmZmljTGlnaHREYXRhAAUAAAAABEhhcnZleUJhbGxEYXRhAAUAAAAAEEhhcnZleUJhbGxWYWx1ZQAAAAAAAlRyYWZmaWNMaWdodFN0YXRlAAQAAABPZmYABENoZWNrQm94RGF0YQAFAAAAAAJDaGVja0JveFN0YXRlAAUAAABOb25lAAADTGVmdFNpZGVSZW5kZXJJbmZvAMMTAAADTGFiZWwAfAYAAAVNYW5hZ2VkSWQAEAAAAAS0OW+dmNuTTIJRWxaY0xA7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BgAAAFJvdyAz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YAAABSb3cgMwABSGVpZ2h0AAAAAIDwnCZAAVdpZHRoAAAAAEAbaD9AAVRvcAAAAAAAIi98QAFMZWZ0AAAAAIA9elB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BxoyOYYe8dOoM52Xue69CAISGFzQ2hhbmdlcwAACFVzZU5hbWVJbnN0ZWFkT2ZUYWdBc0lkAAAIU2hhcGVQcmV2aW91c2x5Q3JlYXRlZAAB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ZgAAAAVlAAAAZwAAAOcPAAAAAAAAAAAAA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OBReotAAVRvcAAAAACAOhN8QAFMZWZ0AAAAAOB69EZ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KxHwUZAAVkAmCRJ9PD/fEAAA0VuZAAbAAAAAVgAMzMzwczsjEABWQCYJEn08P98QAACU3RhcnRBcnJvd0hlYWQAEQAAAG1zb0Fycm93aGVhZE5vbmUAAkVuZEFycm93SGVhZAARAAAAbXNvQXJyb3doZWFkTm9uZQAFTWFuYWdlZElkABAAAAAEefis5VQw1UiUyP6G2BEE6w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AuICLQAFUb3AAAAAAAPH/fEABTGVmdAAAAACgR8FG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MzAG1JAAAESXRlbXMABQAAAAACTmFtZQAGAAAAUm93IDQACElzSGlnaGxpZ2h0ZWQAAANTdHlsZQAKBA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EUAAAAQRwBZAAAAEEIAbgAAAAFTY0EAAAAAAAAA8D8BU2NSAAAAAMBBeK4/AVNjRwAAAACA9pK5PwFTY0IAAAAAAGb1wz8AEEZpbGxUaGVtZUNvbG9yAAAAAAABRmlsbFRpbnRBbmRTaGFkZQAAAAAAAAAAAANCb3JkZXJDb2xvcgBVAAAAEEEA/wAAABBSAN4AAAAQRwDeAAAAEEIA3gAAAAFTY0EAAAAAAAAA8D8BU2NSAAAAAEDvX+c/AVNjRwAAAABA71/nPwFTY0IAAAAAQO9f5z8AEEJvcmRlclRoZW1lQ29sb3IAAAAAAAFCb3JkZXJUaW50QW5kU2hhZGUAAAAAAAAAAAA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ANMZWZ0Tm90ZXMASQQAAANUZXh0U3R5bGUA8QMAAAFEZWZhdWx0Rm9udFNpemcAAAAFZgAAAGgAAADnDwAAAAAAAAAAAAB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1JpZ2h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TGVmdE5vdGVzUmVuZGVySW5mbwBAFAAAA0xhYmVsAHIGAAAFTWFuYWdlZElkABAAAAAE+2ofmkOd9Ei7yVSW4jxm6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2Ct9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gKf8fUAAA0VuZAAbAAAAAVgAMzMzwczsjEABWQAAAACAp/x9QAACU3RhcnRBcnJvd0hlYWQAEQAAAG1zb0Fycm93aGVhZE5vbmUAAkVuZEFycm93SGVhZAARAAAAbXNvQXJyb3doZWFkTm9uZQAFTWFuYWdlZElkABAAAAAEqqtRl0qnkUK1fnXHyJs3WwhIYXNDaGFuZ2VzAAEIVXNlTmFtZUluc3RlYWRoAAAABWcAAABpAAAA5w8AAAAAAAAAAAAA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Cn/H1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eGMegAbV2kql2O1AwniB2w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APEPfU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1JpZ2h0Tm90ZXNSZW5kZXJJbmZvAEAUAAADTGFiZWwAcgYAAAVNYW5hZ2VkSWQAEAAAAASOZK6mVT2QQZ9Xe0wQgDcS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QAAQAAA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QAAAAFGaQAAAAVoAAAAagAAAOcPAAAAAAAAAAAAAG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2Ct9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gKf8fUAAA0VuZAAbAAAAAVgAMzMzwczsjEABWQAAAACAp/x9QAACU3RhcnRBcnJvd0hlYWQAEQAAAG1zb0Fycm93aGVhZE5vbmUAAkVuZEFycm93SGVhZAARAAAAbXNvQXJyb3doZWFkTm9uZQAFTWFuYWdlZElkABAAAAAEJqJQGgzIR0ecSwh3mC+Fl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Kf8fU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Tm4U2iU9/6Q6YwnQXV47dH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AAAAAAAAVRvcAAAAAAA8Q99QAFMZWZ0AAAAAICZ4YxACEZsaXBIb3Jpem9udGFsbHkAAAhGbGlwSG9yaXpvbnRhbGx5QXBwbGllZAAACEZsaXBWZXJ0aWNhbGx5AAAIRmxpcFZlcnRpY2FsbHlBcHBsaWVkAAABUm90YXRpb24AAAAAAAAAAAABWk9yZGVyAAAAAAAAQ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oAAAAFaQAAAGsAAADnDwAAAAAAAAAAAAB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DDEwAAA0xhYmVsAHwGAAAFTWFuYWdlZElkABAAAAAExhRa9RWAwUObA3t7HT0o7g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YAAABSb3cgNA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GAAAAUm93IDQAAUhlaWdodAAAAACA8JwmQAFXaWR0aAAAAABAG2g/QAFUb3AAAAAAgNgrfUABTGVmdAAAAACAPXpQQAhGbGlwSG9yaXpvbnRhbGx5AAAIRmxpcEhvcml6b250YWxseUFwcGxpZWQAAAhGbGlwVmVydGljYWxseQAACEZsaXBWZXJ0aWNhbGx5QXBwbGllZAAAAVJvdGF0aW9uAAAAAAAAAAAAAVpPcmRlcgAAAAAAAAA+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SfBDbyUzMRS4ZdZ3PgDfaKCEhhc0NoYW5nZXMAAAhVc2VOYW1lSW5zdGVhZE9mVGFnQXNJZAAACFNoYXBlUHJldmlvdXNseUNyZWF0ZWQAAQ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ODPli1AAVdpZHRoAAAAAOBReotAAVRvcAAAAAAA8Q99QAFMZWZ0AAAAAOB69EZACEZsaXBIb3Jpem9udGFsbHkAAAhGbGlwSG9yaXpvbnRhbGx5QXBwbGllZAAACEZsaXBWZXJ0aWNhbGx5AAAIRmxpcFZlcnRpY2FsbHlBcHBsaWVkAAABUm90YXRpb24AAAAAAAAAAAABWk9yZGVyAAAAAAAAACZ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KxHwUZAAVkAvW3bcqf8fUAAA0VuZAAbAAAAAVgAMzMzwczsjEABWQC9bdtyp/x9QAACU3RhcnRBcnJvd0hlYWQAEQAAAG1zb0Fycm93aGVhZE5vbmUAAkVuZEFycm93SGVhZAARAAAAbXNvQXJyb3doZWFkTm9uZQAFTWFuYWdlZElkABAAAAAE7k8ZicB3REGj1DrPMsZ+nghIYXNDaGFuZ2VzAAAIVXNlTmFtZUluc3RlYWRPZlRhZ0FzSWQAAAhTaGFwZVByZXZpb3VzbHlDcmVhdGVkAAEDRmlsbENvbG9yAFUAAAAQQQAAAAAAEFIAAAAAABBHAAAAAAAQQgAAAAAAAVNjQQAAAAAAAADwvwFTY1IAAAAAAAAA8L8BU2NHAAAAAAAAAPC/AVNjQgAAAAAAAADwvwAQRmlsbFRoZW1lQ29sb3IAAAAAAAFGaWxrAAAABWoAAABsAAAA5w8AAAAAAAAAAAAA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QLiAi0ABVG9wAAAAAICn/H1AAUxlZnQAAAAAoEfBRk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NABtSQAABEl0ZW1zAAUAAAAAAk5hbWUABgAAAFJvdyA1AAhJc0hpZ2hsaWdodGVkAAADU3R5bGUACgQ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BFAAAAEEcAWQAAABBCAG4AAAABU2NBAAAAAAAAAPA/AVNjUgAAAADAQXiuPwFTY0cAAAAAgPaSuT8BU2NCAAAAAABm9cM/ABBGaWxsVGhlbWVDb2xvcgAAAAAAAUZpbGxUaW50QW5kU2hhZGUAAAAAAAAAAAADQm9yZGVyQ29sb3IAVQAAABBBAP8AAAAQUgDeAAAAEEcA3gAAABBCAN4AAAABU2NBAAAAAAAAAPA/AVNjUgAAAABA71/nPwFTY0cAAAAAQO9f5z8BU2NCAAAAAEDvX+c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ACElzRm9udEl0YWxpYwAACElzRm9udFVuZGVybGluZWQAAAADTGVm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1JpZ2h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AAAAAVrAAAAbQAAAOcPAAAAAAAAAAAAAG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0xlZnROb3Rlc1JlbmRlckluZm8AQBQAAANMYWJlbAByBgAABU1hbmFnZWRJZAAQAAAABHudEXDpj05DsLrh+mxHuLs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AI8ofk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ABe+X5AAANFbmQAGwAAAAFYADMzM8HM7IxAAVkAAAAAAF75fkAAAlN0YXJ0QXJyb3dIZWFkABEAAABtc29BcnJvd2hlYWROb25lAAJFbmRBcnJvd0hlYWQAEQAAAG1zb0Fycm93aGVhZE5vbmUABU1hbmFnZWRJZAAQAAAABNvgOc3uCjhPrO9fOF7q7bo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Be+X5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0AAAAFbAAAAG4AAADnDwAAAAAAAAAAAABhcGVUeXBlAAoAAABSZWN0YW5nbGUABU1hbmFnZWRJZAAQAAAABAakcddamrdOuXcLNv5FMHU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ICnDH5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SaWdodE5vdGVzUmVuZGVySW5mbwBAFAAAA0xhYmVsAHIGAAAFTWFuYWdlZElkABAAAAAEAqOVOWcKQUup/GTb0g8r/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AAjyh+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AF75fkAAA0VuZAAbAAAAAVgAMzMzwczsjEABWQAAAAAAXvl+QAACU3RhcnRBcnJvd0hlYWQAEQAAAG1zb0Fycm93aGVhZE5vbmUAAkVuZEFycm93SGVhZAARAAAAbXNvQXJyb3doZWFkTm9uZQAFTWFuYWdlZElkABAAAAAEGuJVaGpth0G47z03+9ZooQ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uAAAABW0AAABvAAAA5w8AAAAAAAAAAAAA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ABe+X5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UqgKOuu47kex6UJgDWmUZA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gKcMfk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DDEwAAA0xhYmVsAHwGAAAFTWFuYWdlZElkABAAAAAE09YMZi82n0mhNNuqAsONlA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YAAABSb3cgNQACVGV4dEhvcml6b250YWxBbGlnbm1lbnQADgAAAG1zb0FuY2hvck5vbmUAAlRleHRWZXJ0aWNhbEFsaWdubWVudAAQAAAAbXNvQW5jaG9yTWlkZGxlAANGb250U3R5bGUAQQEAABBGb250QmFja2dyb3VuZAAAAAAACEZvbnRCb2xkAAADRm9udENvbG9yAFUAAAAQQQD/AAAAEFIAAAAAABBHAAAAAAAQQgAAAAAAAVNjQQAAAAAAAADwPwFTY1IAAAAAAAAAAAABU2NHAAAAAAAAAAAAAVNjQgAAAAAAAAAAAAAQRm9udFRoZW1lQ29sb3IAAAAAAAFGb250VGludEFuZFNoYWRlAAAAAAAAAAAAEEZvbnRTY2hlbWVDb2xvcgAAAAAACEZvbnRJdGFsaWMAAAJGb250TmFtZQAHAAAAK21uLWx0AAFGb250U2l6ZQAAAAAAAAAkQAhGb250U3RyaWtldGhyb3VnaAAACEZvbnRTdWJzY3JpcHQAAAhGb250U3VwZXJzY3JpcHQAAAhGb250VW5kZXJsaW5lAAAACFNpemVUb1RleHRXaWR0aAAACFNpemVUb1RleHRIZWlnaHQAAANUZXh0TWFyZ2luAD8AAAABTGVmdAAAAAAAAAAAAAFUb3AAAAAAAAAAAAABUmlnaHQAAAAAAAAAAAABQm90dG9tAAAAAAAAAAAAAAJEaXNwbGF5VGV4dAAGAAAAUm93IDUAAUhlaWdodAAAAACA8JwmQAFXaWR0aAAAAABAG2g/QAFUb3AAAAAAAI8ofkABTGVmdAAAAACAPXpQQAhGbGlwSG9yaXpvbnRhbGx5AAAIRmxpcEhvcml6b250YWxseUFwcGxpZWQAAAhGbGlwVmVydGljbwAAAAVuAAAAcAAAAOcPAAAAAAAAAAAAAG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GFCRbCsAF0GHVqAkc8Y9WwhIYXNDaGFuZ2VzAAAIVXNlTmFtZUluc3RlYWRPZlRhZ0FzSWQAAAhTaGFwZVByZXZpb3VzbHlDcmVhdGVkAAE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DgUXqLQAFUb3AAAAAAgKcMfkABTGVmdAAAAADgevRGQAhGbGlwSG9yaXpvbnRhbGx5AAAIRmxpcEhvcml6b250YWxseUFwcGxpZWQAAAhGbGlwVmVydGljYWxseQAACEZsaXBWZXJ0aWNhbGx5QXBwbGllZAAAAVJvdGF0aW9uAAAAAAAAAAAAAVpPcmRlcgAAAAAAAAAm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ysR8FGQAFZAOK2bfFd+X5AAANFbmQAGwAAAAFYADMzM8HM7IxAAVkA4rZt8V35fkAAAlN0YXJ0QXJyb3dIZWFkABEAAABtc29BcnJvd2hlYWROb25lAAJFbmRBcnJvd0hlYWQAEQAAAG1zb0Fycm93aGVhZE5vbmUABU1hbmFnZWRJZAAQAAAABH1ANztD4j5FntV1trhF88Y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QLiAi0ABVG9wAAAAAABe+X5AAUxlZnQAAAAAoEfBRkAIRmxpcEhvcml6b250YWxseQAACEZsaXBIb3Jpem9udGFsbHlBcHBsaWVkAAAIRmxpcFZlcnRpY2FsbHkAAAhGbGlwVmVydGljYWxseUFwcGxpZWQAAAFSb3RhdGlvbgAAAAAAAAAAAAFaT3JkZXIAAAAAAAAAKE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ADNQBtSQAABEl0ZW1zAAUAAAAAAk5hbWUABgAAAFJvdyA2AAhJc0hpZ2hsaWdodGVkAAADU3R5bGUACgQAAAFEZWZhdWx0Rm9udFNpemUAAAAAAAAAJEABRm9udFNpemUAAAAAAAAAJEADRm9udENvbG9yAFUAAAAQQQD/AAAAEFIAAAAAABBHAAAAAAAQQgAAAAAAAVNjQQAAAAAAAADwPwFTY1IAAAAAAAAAAAABU3AAAAAFbwAAAHEAAADnDwAAAAAAAAAAAAB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RQAAABBHAFkAAAAQQgBuAAAAAVNjQQAAAAAAAADwPwFTY1IAAAAAwEF4rj8BU2NHAAAAAID2krk/AVNjQgAAAAAAZvXDPwAQRmlsbFRoZW1lQ29sb3IAAAAAAAFGaWxsVGludEFuZFNoYWRlAAAAAAAAAAAAA0JvcmRlckNvbG9yAFUAAAAQQQD/AAAAEFIA3gAAABBHAN4AAAAQQgDeAAAAAVNjQQAAAAAAAADwPwFTY1IAAAAAQO9f5z8BU2NHAAAAAEDvX+c/AVNjQgAAAABA71/nPwAQQm9yZGVyVGhlbWVDb2xvcgAAAAAAAUJvcmRlclRpbnRBbmRTaGFkZQAAAAAAAAAAAAhJc0ZpbGxlZAABAlBhdHRlcm4AEAAAAG1zb1BhdHRlcm5NaXhlZAACU2hhcGVUeXBlAA4AAABtc29TaGFwZU1peGVkAANMYWJlbE9mZnNldABCAAAAAVgAAAAAAAAAAAABWQAAAAAAAAAAAAFMZW5ndGgAAAAAAAAAAAABTGVuZ3RoU3F1YXJlZAAAAAAAAAAAAAABQm9yZGVyVGhpY2tuZXNzAAAAAAAAAPA/CElzRm9udEJvbGQAAAhJc0ZvbnRJdGFsaWMAAAhJc0ZvbnRVbmRlcmxpbmVkAAAAA0xlZnROb3RlcwBJBAAAA1RleHRTdHlsZQDxAwAAAURlZmF1bHRGb250U2l6ZQAAAAAAAAAkQAFGb250U2l6ZQAAAAAAAAAkQANGb250Q29sb3IAVQAAABBBAP8AAAAQUgAAAAAAEEcAAAAAABBCAAAAAAABU2NBAAAAAAAAAPA/AVNjUgAAAAAAAAAAAAFTY0cAAAAAAAAAAAABU2NCAAAAAAAAAAAAABBGb250VGhlbWVDb2xvcgAAAAAAAUZvbnRUaW50QW5kU2hhZGUAAAAAAAAAAAADUGF0dGVybkNvbG9yAFUAAAAQQQAAAAAAEFIAAAAAABBHAAAAAAAQQgAAAAAAAVNjQQAAAAAAAAAAAAFTY1IAAAAAAAAAAAABU2NHAAAAAAAAAAAAAVNjQgAAAAAAAAAAAAAQUGF0dGVyblRoZW1lQ29sb3IAAAAAAAFQYXR0ZXJuVGludEFuZFNoYWRlAAAAAAAAAAAAA0RhdGFTdHlsZUZvbnRDb2xvclZhbHVlAFUAAAAQQQD/AAAAEFIAAAAAABBHAAAAAAAQQgAAAAAAAVNjQQAAAAAAAADwPwFTY1IAAAAAAAAAAAABU2NHAAAAAAAAAAAAAVNjQgAAAAAAAAAAAAAIRGF0YVN0eWxlRm9udENvbG9ySGFzVmFsdWUAAQFIZWlnaHQAAAAAAAAAAAACRGFzaFN0eWxlAA0AAABtc29MaW5lU29saWQAA0ZpbGxDb2xvcgBVAAAAEEEA/wAAABBSAAAAAAAQRwAAAAAAEEIAAAAAAAFTY0EAAAAAAAAA8D8BU2NSAAAAAAAAAAAAAVNjRwAAAAAAAAAAAAFTY0IAAAAAAAAAAAAAEEZpbGxUaGVtZUNvbG9yAAAAAAABRmlsbFRpbnRBbmRTaGFkZQAAAAAAAAAAAANCb3JkZXJDb2xvcgBVAAAAEEEAAAAAABBSAAAAAAAQRwAAAAAAEEIAAAAAAAFTY0EAAAAAAAAAAAABU2NSAAAAAAAAAAAAAVNjRwAAAAAAAAAAAAFTY0IAAAAAAAAAAAAAEEJvcmRlclRoZW1lQ29sb3IAAAAAAAFCb3JkZXJUaW50QW5kU2hhZGUAAAAAAAAAAAAISXNGaWxsZWQAAQJQYXR0ZXJuABAAAABtc29QYXR0ZXJuTWl4ZWQAAlNoYXBlVHlwZQAOAAAAbXNvU2hhcGVNaXhlZAADTGFiZWxPZmZzZXQAQgAAAAFYAAAAAAAAAAAAAVkAAAAAAAAAAAABTGVuZ3RoAAAAAAAAAAAAAUxlbmd0aFNxdWFyZWQAAAAAAAAAAAAACElzRm9udEJvbGQAAAhJc0ZvbnRJdGFsaWMAAAhJc0ZvbnRVbmRlcmxpbmVkAAAAEEhhcnZleUJhbGxWYWx1ZQAAAAAAAkNoZWNrQm94U3RhdGUABQAAAE5vbmUAAlRyYWZmaWNMaWdodFN0YXRlAAQAAABPZmYAAANSaWdo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0xlZnROb3Rlc1JlbmRlckluZm8AQBQAAANMYWJlbAByBgAABU1hbmFnZWRJZAAQAAAABHOABcmdpJpFrQht4Y6+h3I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xAAAABXAAAAByAAAA5w8AAAAAAAAAAAAAb1RleHRXaWR0aAAACFNpemVUb1RleHRIZWlnaHQAAANUZXh0TWFyZ2luAD8AAAABTGVmdAAAAAAAAAAAAAFUb3AAAAAAAAAAAAABUmlnaHQAAAAAAAAAAAABQm90dG9tAAAAAAAAAAAAAAJEaXNwbGF5VGV4dAABAAAAAAFIZWlnaHQAAAAAgPCcJkABV2lkdGgAAAAAgML1KEABVG9wAAAAAGBFJX9AAUxlZnQAAAAAgJk5jUAIRmxpcEhvcml6b250YWxseQAACEZsaXBIb3Jpem9udGFsbHlBcHBsaWVkAAAIRmxpcFZlcnRpY2FsbHkAAAhGbGlwVmVydGljYWxseUFwcGxpZWQAAAFSb3RhdGlvbgAAAAAAAAAAAAFaT3JkZXIAAAAAAAC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WmbmjEABWQAAAACAFPZ/QAADRW5kABsAAAABWAAzMzPBzOyMQAFZAAAAAIAU9n9AAAJTdGFydEFycm93SGVhZAARAAAAbXNvQXJyb3doZWFkTm9uZQACRW5kQXJyb3dIZWFkABEAAABtc29BcnJvd2hlYWROb25lAAVNYW5hZ2VkSWQAEAAAAAQyb/z7oZwlRpq+LbfpVAi8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KCZmek/AVRvcAAAAACAFPZ/QAFMZWZ0AAAAAGBm5oxACEZsaXBIb3Jpem9udGFsbHkAAAhGbGlwSG9yaXpvbnRhbGx5QXBwbGllZAAACEZsaXBWZXJ0aWNhbGx5AAAIRmxpcFZlcnRpY2FsbHlBcHBsaWVkAAABUm90YXRpb24AAAAAAAAAAAABWk9yZGVyAAAAAAAAgFV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FEzuybrQsREn9RUIXlgRaUISGFzQ2hhbmdlcwABCFVzZU5hbWVJbnN0ZWFkT2ZUYWdBc0lkAAAIU2hhcGVQcmV2aW91c2x5Q3JlYXRlZAAA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ABeCX9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cgAAAAVxAAAAcwAAAOcPAAAAAAAAAAAAAGFjZUFmdGVyAAAAAAAAAAAAAVNwYWNlQmVmb3JlAAAAAAAAAAAAAVNwYWNlV2l0aGluAAAAAAAAAAAAAARUcmFmZmljTGlnaHREYXRhAAUAAAAABEhhcnZleUJhbGxEYXRhAAUAAAAAEEhhcnZleUJhbGxWYWx1ZQAAAAAAAlRyYWZmaWNMaWdodFN0YXRlAAQAAABPZmYABENoZWNrQm94RGF0YQAFAAAAAAJDaGVja0JveFN0YXRlAAUAAABOb25lAAADUmlnaHROb3Rlc1JlbmRlckluZm8AQBQAAANMYWJlbAByBgAABU1hbmFnZWRJZAAQAAAABJEGaHAGV55JiE7dFb1phV0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BAAAAAAJUZXh0SG9yaXpvbnRhbEFsaWdubWVudAAOAAAAbXNvQW5jaG9yTm9uZQ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R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CA8JwmQAFXaWR0aAAAAACAwvUoQAFUb3AAAAAAYEUlf0ABTGVmdAAAAACAmTmNQAhGbGlwSG9yaXpvbnRhbGx5AAAIRmxpcEhvcml6b250YWxseUFwcGxpZWQAAAhGbGlwVmVydGljYWxseQAACEZsaXBWZXJ0aWNhbGx5QXBwbGllZAAAAVJvdGF0aW9uAAAAAAAAAAAAAVpPcmRlcgAAAAAAAI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IAU9n9AAANFbmQAGwAAAAFYADMzM8HM7IxAAVkAAAAAgBT2f0AAAlN0YXJ0QXJyb3dIZWFkABEAAABtc29BcnJvd2hlYWROb25lAAJFbmRBcnJvd0hlYWQAEQAAAG1zb0Fycm93aGVhZE5vbmUABU1hbmFnZWRJZAAQAAAABCE2J5EIwa1HplvVrWcNm6Y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AU9n9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b169g+Mt1ECfGkKZPNU3Ug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HMAAAAFcgAAAHQAAADnDwAAAAAAAAAAAAB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AAAAAAABVG9wAAAAAABeCX9AAUxlZnQAAAAAgJnhjEAIRmxpcEhvcml6b250YWxseQAACEZsaXBIb3Jpem9udGFsbHlBcHBsaWVkAAAIRmxpcFZlcnRpY2FsbHkAAAhGbGlwVmVydGljYWxseUFwcGxpZWQAAAFSb3RhdGlvbgAAAAAAAAAAAAFaT3JkZXIAAAAAAABAVU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BFRyYWZmaWNMaWdodERhdGEABQAAAAAESGFydmV5QmFsbERhdGEABQAAAAAQSGFydmV5QmFsbFZhbHVlAAAAAAACVHJhZmZpY0xpZ2h0U3RhdGUABAAAAE9mZgAEQ2hlY2tCb3hEYXRhAAUAAAAAAkNoZWNrQm94U3RhdGUABQAAAE5vbmUAAANMZWZ0U2lkZVJlbmRlckluZm8AwxMAAANMYWJlbAB8BgAABU1hbmFnZWRJZAAQAAAABDsL55GJHWtJt2JXz7h8Byc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AAGAAAAUm93IDY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BgAAAFJvdyA2AAFIZWlnaHQAAAAAgPCcJkABV2lkdGgAAAAAQBtoP0ABVG9wAAAAAGBFJX9AAUxlZnQAAAAAgD16UEAIRmxpcEhvcml6b250YWxseQAACEZsaXBIb3Jpem9udGFsbHlBcHBsaWVkAAAIRmxpcFZlcnRpY2FsbHkAAAhGbGlwVmVydGljYWxseUFwcGxpZWQAAAFSb3RhdGlvbgAAAAAAAAAAAAFaT3JkZXIAAAAAAAAAP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J1+173jaTUa63l5JZ7h7EAhIYXNDaGFuZ2VzAAAIVXNlTmFtZUluc3RlYWRPZlRhZ0FzSWQAAAhTaGFwZVByZXZpb3VzbHlDcmVhdGVkAAE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DgUXqLQAF0AAAABXMAAAB1AAAA5w8AAAAAAAAAAAAAVG9wAAAAAABeCX9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NlcGFyYXRvckxpbmUAxwYAAANTdGFydAAbAAAAAVgAzczMrEfBRkABWQAHAABwFPZ/QAADRW5kABsAAAABWAAzMzPBzOyMQAFZAAcAAHAU9n9AAAJTdGFydEFycm93SGVhZAARAAAAbXNvQXJyb3doZWFkTm9uZQACRW5kQXJyb3dIZWFkABEAAABtc29BcnJvd2hlYWROb25lAAVNYW5hZ2VkSWQAEAAAAASfRt9zIBd8SbvmI37UlLWf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EC4gItAAVRvcAAAAACAFPZ/QAFMZWZ0AAAAAKBHwUZACEZsaXBIb3Jpem9udGFsbHkAAAhGbGlwSG9yaXpvbnRhbGx5QXBwbGllZAAACEZsaXBWZXJ0aWNhbGx5AAAIRmxpcFZlcnRpY2FsbHlBcHBsaWVkAAABUm90YXRpb24AAAAAAAAAAAABWk9yZGVyAAAAAAAAAChAA0JvcmRlckNvbG9yAFUAAAAQQQD/AAAAEFIA3gAAABBHAN4AAAAQQgDeAAAAAVNjQQAAAAAAAADwPwFTY1IAAAAAQO9f5z8BU2NHAAAAAEDvX+c/AVNjQgAAAABA71/nPwAQQm9yZGVyVGhlbWVDb2xvcgAAAAAAAUJvcmRlclRpbnRBbmRTaGFkZQAAAAAAAAAAABBCb3JkZXJTY2hlbWVDb2xvcgAAAAAAAUJvcmRlclRoaWNrbmVzcwAAAAAAAADw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AAAJOYW1lAAoAAABkYXJrdGFibGUAAlN1bW1hcnlMYWJlbAABAAAAAAhJc0xhYmVsSW5zaWRlQm91bmRzAAACTGFiZWxQb3NpdGlvbgAFAAAATGVmdAAISXNIaWdobGlnaHRlZAAAA0xlZnRTaWRlU3R5bGUACgQAAAFEZWZhdWx0Rm9udFNpemUAAAAAAAAAJEABRm9udFNpemUAAAAAAAAAK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BFAAAAEEcAWQAAABBCAG4AAAABU2NBAAAAAAAAAPA/AVNjUgAAAADAQXiuPwFTY0cAAAAAgPaSuT8BU2NCAAAAAABm9cM/ABBGaWxsVGhlbWVDb2xvcgAAAAAAAUZpbGxUaW50QW5kU2hhZGUAAAAAAAAAAAADQm9yZGVyQ29sb3IAVQAAABBBAP8AAAAQUgDeAAAAEEcA3gAAABBCAN4AAAABU2NBAAAAAAAAAPA/AVNjUgAAAABA71/nPwFTY0cAAAAAQO9f5z8BU2NCAAAAAEDvX+c/ABBCb3JkZXJUaGVtZUNvbG9yAAAAAAABQm9yZGVyVGludEFuZFNoYWRlAAAAAAAAAAAACElzRmlsbGVkAAECUGF0dGVybgAQAAAAbXNvUGF0dGVybk1peGVkAAJTaGFwZVR5cGUADgAAAG1zb1NoYXBlTWl4ZWQAA0xhYmVsT2Zmc2V0AEIAAAABWAAAAAAAAAAAAAFZAAAAAAAAAAAAAUxlbmd0aAAAAAAAAAAAAAFMZW5ndGhTcXVhcmVkAAAAAAAAAAAAAAFCb3JkZXJUaGlja25lc3MAAAAAAAAA8D8ISXNGb250Qm9sZAABCElzRm9udEl0YWxpYwAACElzRm9udFVuZGVybGluZWQAAAADU3VtbWFyeVN0eWxlAAoEAAABRGVmYXVsdEZvbnRTaXplAAAAAAAAACRAAUZvbnRTaXplAAAAAAAAACRAA0ZvbnRDb2xvcgBVAAAAEEEA/wAAABBSAP8AAAAQRwD/AAAAEEIA/wAAAAFTY0EAAAAAAAAA8D8BU2NSAAAAAAAAAPA/AVNjRwAAAAAAAADwPwFTY0IAAAAAAAAA8D8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D/AAAAEEcA/wAAABBCAP8AAAABU2NBAAAAAAAAAPA/AVNjUgAAAAAAAADwPwFTY0cAAAAAAAAA8D8BU2NCAAAAAAAAAPA/AAhEYXRhU3R5bGVGb250Q29sb3JIYXNWYWx1ZQABAUhlaWdodAClvKny//8nQAJEYXNoU3R5bGUADQAAAG1zb0xpbmVTb2xpZAADRmlsbENvbG9yAFUAAAAQQQD/AAAAEFIAFAAAABBHAIIAAAAQQgCsAAAAdQAAAAV0AAAAdgAAAOcPAAAAAAAAAAAAAAFTY0EAAAAAAAAA8D8BU2NSAAAAACA4p3w/AVNjRwAAAADgu5LMPwFTY0IAAAAAIBln2j8AEEZpbGxUaGVtZUNvbG9yAAUAAAABRmlsbFRpbnRBbmRTaGFkZQAAAAAAAADQvwNCb3JkZXJDb2xvcgBVAAAAEEEA/wAAABBSABQAAAAQRwCCAAAAEEIArAAAAAFTY0EAAAAAAAAA8D8BU2NSAAAAACA4p3w/AVNjRwAAAADgu5LMPwFTY0IAAAAAIBln2j8AEEJvcmRlclRoZW1lQ29sb3IABQAAAAFCb3JkZXJUaW50QW5kU2hhZGUAAAAAAAAA0L8ISXNGaWxsZWQAAQJQYXR0ZXJuABAAAABtc29QYXR0ZXJuTWl4ZWQAAlNoYXBlVHlwZQAOAAAAbXNvU2hhcGVNaXhlZAADTGFiZWxPZmZzZXQAQgAAAAFYAAAAAAAAAAAAAVkAAAAAAAAAAAABTGVuZ3RoAAAAAAAAAAAAAUxlbmd0aFNxdWFyZWQAAAAAAAAAAAAAAUJvcmRlclRoaWNrbmVzcwAAAAAAAADwPwhJc0ZvbnRCb2xkAAAISXNGb250SXRhbGljAAAISXNGb250VW5kZXJsaW5lZAAAAAhEaXNwbGF5TGFiZWwAAQhEaXNwbGF5U3VtbWFyeQABCElzQ29sbGFwc2VkAAADTGVmdE5vdGVzAEkEAAADVGV4dFN0eWxlAPEDAAABRGVmYXVsdEZvbnRTaXplAAAAAAAAACRAAUZvbnRTaXplAAAAAAAAACRAA0ZvbnRDb2xvcgBVAAAAEEEA/wAAABBSAAAAAAAQRwAAAAAAEEIAAAAAAAFTY0EAAAAAAAAA8D8BU2NSAAAAAAAAAAAAAVNjRwAAAAAAAAAAAAFTY0IAAAAAAAAAAAAAEEZvbnRUaGVtZUNvbG9yAAAAAAABRm9udFRpbnRBbmRTaGFkZQAAAAAAAAAAAANQYXR0ZXJuQ29sb3IAVQAAABBBAAAAAAAQUgAAAAAAEEcAAAAAABBCAAAAAAABU2NBAAAAAAAAAAAAAVNjUgAAAAAAAAAAAAFTY0cAAAAAAAAAAAABU2NCAAAAAAAAAAAAABBQYXR0ZXJuVGhlbWVDb2xvcgAAAAAAAVBhdHRlcm5UaW50QW5kU2hhZGUAAAAAAAAAAAADRGF0YVN0eWxlRm9udENvbG9yVmFsdWUAVQAAABBBAP8AAAAQUgAAAAAAEEcAAAAAABBCAAAAAAABU2NBAAAAAAAAAPA/AVNjUgAAAAAAAAAAAAFTY0cAAAAAAAAAAAABU2NCAAAAAAAAAAAAAAhEYXRhU3R5bGVGb250Q29sb3JIYXNWYWx1ZQABAUhlaWdodAAAAAAAAAAAAAJEYXNoU3R5bGUADQAAAG1zb0xpbmVTb2xpZAADRmlsbENvbG9yAFUAAAAQQQD/AAAAEFIAAAAAABBHAAAAAAAQQgAAAAAAAVNjQQAAAAAAAADwPwFTY1IAAAAAAAAAAAABU2NHAAAAAAAAAAAAAVNjQgAAAAAAAAAAAAAQRmlsbFRoZW1lQ29sb3IAAAAAAAFGaWxsVGludEFuZFNoYWRlAAAAAAAAAAAAA0JvcmRlckNvbG9yAFUAAAAQQQAAAAAAEFIAAAAAABBHAAAAAAAQQgAAAAAAAVNjQQAAAAAAAAAAAAFTY1IAAAAAAAAAAAABU2NHAAAAAAAAAAAAAVNjQgAAAAAAAAAAAAAQQm9yZGVyVGhlbWVDb2xvcgAAAAAAAUJvcmRlclRpbnRBbmRTaGFkZQAAAAAAAAAAAAhJc0ZpbGxlZAABAlBhdHRlcm4AEAAAAG1zb1BhdHRlcm5NaXhlZAACU2hhcGVUeXBlAA4AAABtc29TaGFwZU1peGVkAANMYWJlbE9mZnNldABCAAAAAVgAAAAAAAAAAAABWQAAAAAAAAAAAAFMZW5ndGgAAAAAAAAAAAABTGVuZ3RoU3F1YXJlZAAAAAAAAAAAAAAISXNGb250Qm9sZAAACElzRm9udEl0YWxpYwAACElzRm9udFVuZGVybGluZWQAAAAQSGFydmV5QmFsbFZhbHVlAAAAAAACQ2hlY2tCb3hTdGF0ZQAFAAAATm9uZQACVHJhZmZpY0xpZ2h0U3RhdGUABAAAAE9mZgAAA1JpZ2h0Tm90ZXMASQQAAANUZXh0U3R5bGUA8QMAAAFEZWZhdWx0Rm9udFNpemUAAAAAAAAAJEABRm9udFNpemUAAAAAAAAAJEADRm9udENvbG9yAFUAAAAQQQD/AAAAEFIAAAAAABBHAAAAAAAQQgAAAAAAAVNjQQAAAAAAAADwPwFTY1IAAAAAAAAAAAABU2NHAAAAAAAAAAAAAVNjQgAAAAAAAAAAAAAQRm9udFRoZW1lQ29sb3IAAAAAAAFGb250VGludEFuZFNoYWRlAAAAAAAAAAAAA1BhdHRlcm5Db2xvcgBVAAAAEEEAAAAAABBSAAAAAAAQRwAAAAAAEEIAAAAAAAFTY0EAAAAAAAAAAAABU2NSAAAAAAAAAAAAAVNjRwAAAAAAAAAAAAFTY0IAAAAAAAAAAAAAEFBhdHRlcm5UaGVtZUNvbG9yAAAAAAABUGF0dGVyblRpbnRBbmRTaGFkZQAAAAAAAAAAAANEYXRhU3R5bGVGb250Q29sb3JWYWx1ZQBVAAAAEEEA/wAAABBSAAAAAAAQRwAAAAAAEEIAAAAAAAFTY0EAAAAAAAAA8D8BU2NSAAAAAAAAAAAAAVNjRwAAAAAAAAAAAAFTY0IAAAAAAAAAAAAACERhdGFTdHlsZUZvbnRDb2xvckhhc1ZhbHVlAAEBSGVpZ2h0AAAAAAAAAAAAAkRhc2hTdHlsZQANAAAAbXNvTGluZVNvbGlkAANGaWxsQ29sb3IAVQAAABBBAP8AAAAQUgAAAAAAEEcAAAAAABBCAAAAAAABU2NBAAAAAAAAAPA/AVNjUgAAAAAAAAAAAAFTY0cAAAAAAAAAAAABU2NCAAAAAAAAAAAAABBGaWxsVGhlbWVDb2xvcgAAAAAAAUZpbGxUaW50QW5kU2hhZGUAAAAAAAAAAAADQm9yZGVyQ29sb3IAVQAAABBBAAAAAAAQUgAAAAAAEEcAAAAAABBCAAAAAAABU2NBAAAAAAAAAAAAAVNjUgAAAAAAAAAAAAFTY0cAAAAAAAAAAAABU2NCAAAAAAAAAAAAABBCb3JkZXJUaGVtZUNvbG9yAAAAAAABQm9yZGVyVGludEFuZFNoYWRlAAAAAAAAAAAACElzRmlsbGVkAAECUGF0dGVybgAQAAAAbXNvUGF0dGVybk1peGVkAAJTaGFwZVR5cGUADgAAAG1zb1NoYXBlTWl4ZWQAA0xhYmVsT2Zmc2V0AEIAAAABWAAAAAAAAAAAAAFZAAAAAAAAAAAAAUxlbmd0aAAAAAAAAAAAAAFMZW5ndGhTcXVhcmVkAAAAAAAAAAAAAAhJc0ZvbnRCb2xkAAAISXNGb250SXRhbGljAAAISXNGb250VW5kZXJsaW5lZAAAABBIYXJ2ZXlCYWxsVmFsdWUAAAAAAAJDaGVja0JveFN0YXRlAAUAAABOb25lAAJUcmFmZmljTGlnaHRTdGF0ZQAEAAAAT2ZmAAADTGVmdE5vdGVzUmVuZGVySW5mbwBAFAAAA0xhYmVsAHIGAAAFTWFuYWdlZElkABAAAAAEqH+WKd6oTUWx9BCKNYA4Sw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/jh5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nYAAAAFdQAAAHcAAADnDwAAAAAAAAAAAAB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2VwYXJhdG9yTGluZQDHBgAAA1N0YXJ0ABsAAAABWADNzMxaZuaMQAFZAAAAAIDNCXpAAANFbmQAGwAAAAFYADMzM8HM7IxAAVkAAAAAgM0JekAAAlN0YXJ0QXJyb3dIZWFkABEAAABtc29BcnJvd2hlYWROb25lAAJFbmRBcnJvd0hlYWQAEQAAAG1zb0Fycm93aGVhZE5vbmUABU1hbmFnZWRJZAAQAAAABASLegtVlwBFjqbc8ObB2lo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AAAAAAABV2lkdGgAAAAAoJmZ6T8BVG9wAAAAAIDNCXpAAUxlZnQAAAAAYGbmjEAIRmxpcEhvcml6b250YWxseQAACEZsaXBIb3Jpem9udGFsbHlBcHBsaWVkAAAIRmxpcFZlcnRpY2FsbHkAAAhGbGlwVmVydGljYWxseUFwcGxpZWQAAAFSb3RhdGlvbgAAAAAAAAAAAAFaT3JkZXIAAAAAAACAVUADQm9yZGVyQ29sb3IAVQAAABBBAP8AAAAQUgDeAAAAEEcA3gAAABBCAN4AAAABU2NBAAAAAAAAAPA/AVNjUgAAAABA71/nPwFTY0cAAAAAQO9f5z8BU2NCAAAAAEDvX+c/ABBCb3JkZXJUaGVtZUNvbG9yAAAAAAABQm9yZGVyVGludEFuZFNoYWRlAAAAAAAAAAAAEEJvcmRlclNjaGVtZUNvbG9yAAAAAAABQm9yZGVyVGhpY2tuZXNzAAAAAAAAAP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1JlY3RhbmdsZQBaBgAAAkF1dG9TaGFwZVR5cGUACgAAAFJlY3RhbmdsZQAFTWFuYWdlZElkABAAAAAESiLaCUlHHkufPKhUX+605AhIYXNDaGFuZ2VzAAEIVXNlTmFtZUluc3RlYWRPZlRhZ0FzSWQAAAhTaGFwZVByZXZpb3VzbHlDcmVhdGVkAAADRmlsbENvbG9yAFUAAAAQQQD/AAAAEFIARQAAABBHAFkAAAAQQgBuAAAAAVNjQQAAAAAAAADwPwFTY1IAAAAAwEF4rj8BU2NHAAAAAID2krk/AVNjQgAAAAAAZvXD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A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ABcdeU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1JpZ2h0Tm90ZXNSZW5kZXJJbmZvAEAUAAADTGFiZWwAcgYAAAVNYW5hZ2VkSWQAEAAAAAT82Rrjyoj4QJ1esj+ePjE1CEhhc0NoYW5nZXMAAQhVc2VOYW1lSW5zdGVhZE9mVGFnQXNJZAAACFNoYXBlUHJldmlvdXNseUNyZWF0ZWQAAANGaWxsQ29sb3IAVQAAABBBAAAAAAAQUgAAAAAAEEcAAAAAABBCAAAAAAABU2NBAAAAAAAAAPC/AVNjUgAAAAAAAADwvwFTY0d3AAAABXYAAAB4AAAA5w8AAAAAAAAAAAAA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EAAAAAAlRleHRIb3Jpem9udGFsQWxpZ25tZW50AA4AAABtc29BbmNob3JOb25lAAJUZXh0VmVydGljYWxBbGlnbm1lbnQAEAAAAG1zb0FuY2hvck1pZGRsZQADRm9udFN0eWxlAEEBAAAQRm9udEJhY2tncm91bmQAAAAAAAhGb250Qm9sZAAAA0ZvbnRDb2xvcgBVAAAAEEEA/wAAABBSAAAAAAAQRwAAAAAAEEIAAAAAAAFTY0EAAAAAAAAA8D8BU2NSAAAAAAAAAAAAAVNjRwAAAAAAAAAAAAFTY0IAAAAAAAAAAAAAEEZvbnRUaGVtZUNvbG9yAAEAAAABRm9udFRpbnRBbmRTaGFkZQAAAAAAAAAAABBGb250U2NoZW1lQ29sb3IAAAAAAAhGb250SXRhbGljAAACRm9udE5hbWUABwAAACttbi1sdAABRm9udFNpemUAAAAAAAAAJ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IDwnCZAAVdpZHRoAAAAAIDC9ShAAVRvcAAAAACA/jh5QAFMZWZ0AAAAAICZOY1ACEZsaXBIb3Jpem9udGFsbHkAAAhGbGlwSG9yaXpvbnRhbGx5QXBwbGllZAAACEZsaXBWZXJ0aWNhbGx5AAAIRmxpcFZlcnRpY2FsbHlBcHBsaWVkAAABUm90YXRpb24AAAAAAAAAAAABWk9yZGVyAAAAAAAAgFV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Fpm5oxAAVkAAAAAgM0JekAAA0VuZAAbAAAAAVgAMzMzwczsjEABWQAAAACAzQl6QAACU3RhcnRBcnJvd0hlYWQAEQAAAG1zb0Fycm93aGVhZE5vbmUAAkVuZEFycm93SGVhZAARAAAAbXNvQXJyb3doZWFkTm9uZQAFTWFuYWdlZElkABAAAAAEjjefEPCLkU6WMZ/KRJ3fj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CgmZnpPwFUb3AAAAAAgM0JekABTGVmdAAAAABgZuaMQAhGbGlwSG9yaXpvbnRhbGx5AAAIRmxpcEhvcml6b250YWxseUFwcGxpZWQAAAhGbGlwVmVydGljYWxseQAACEZsaXBWZXJ0aWNhbGx5QXBwbGllZAAAAVJvdGF0aW9uAAAAAAAAAAAAAVpPcmRlcgAAAAAAAIBV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UmVjdGFuZ2xlAFoGAAACQXV0b1NoYXBlVHlwZQAKAAAAUmVjdGFuZ2xlAAVNYW5hZ2VkSWQAEAAAAAQwunPp2dP+SIGv3c2WMGAYCEhhc0NoYW5nZXMAAQhVc2VOYW1lSW5zdGVhZE9mVGFnQXNJZAAACFNoYXBlUHJldmlvdXNseUNyZWF0ZWQAAANGaWxsQ29sb3IAVQAAABBBAP8AAAAQUgBFAAAAEEcAWQAAABBCAG4AAAABU2NBAAAAAAAAAPA/AVNjUgAAAADAQXiuPwFTY0cAAAAAgPaSuT8BU2NCAAAAAABm9cM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eAAAAAV3AAAAeQAAAOcPAAAAAAAAAAAAAGV0aHJvdWdoAAAIRm9udFN1YnNjcmlwdAAACEZvbnRTdXBlcnNjcmlwdAAACEZvbnRVbmRlcmxpbmUAAAAIU2l6ZVRvVGV4dFdpZHRoAAAIU2l6ZVRvVGV4dEhlaWdodAAAA1RleHRNYXJnaW4APwAAAAFMZWZ0AAAAAAAAAAAAAVRvcAAAAAAAAAAAAAFSaWdodAAAAAAAAAAAAAFCb3R0b20AAAAAAAAAAAAAAUhlaWdodAAAAADgz5YtQAFXaWR0aAAAAAAAAAAAAAFUb3AAAAAAABcdeUABTGVmdAAAAACAmeGMQAhGbGlwSG9yaXpvbnRhbGx5AAAIRmxpcEhvcml6b250YWxseUFwcGxpZWQAAAhGbGlwVmVydGljYWxseQAACEZsaXBWZXJ0aWNhbGx5QXBwbGllZAAAAVJvdGF0aW9uAAAAAAAAAAAAAVpPcmRlcgAAAAAAAEBV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EVHJhZmZpY0xpZ2h0RGF0YQAFAAAAAARIYXJ2ZXlCYWxsRGF0YQAFAAAAABBIYXJ2ZXlCYWxsVmFsdWUAAAAAAAJUcmFmZmljTGlnaHRTdGF0ZQAEAAAAT2ZmAARDaGVja0JveERhdGEABQAAAAACQ2hlY2tCb3hTdGF0ZQAFAAAATm9uZQAAA0xlZnRTaWRlUmVuZGVySW5mbwDIEwAAA0xhYmVsAIEGAAAFTWFuYWdlZElkABAAAAAEfUqLXLlaQ0q2BsD8xN6EGQ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AAoAAABkYXJrdGFibGUAAlRleHRIb3Jpem9udGFsQWxpZ25tZW50AA4AAABtc29BbmNob3JOb25lAAJUZXh0VmVydGljYWxBbGlnbm1lbnQADQAAAG1zb0FuY2hvclRvcAADRm9udFN0eWxlAEEBAAAQRm9udEJhY2tncm91bmQAAAAAAAhGb250Qm9sZAAB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CgAAAGRhcmt0YWJsZQABSGVpZ2h0AAAAACCKNipAAVdpZHRoAAAAAKD8Ik1AAVRvcAAAAAAgmCx5QAFMZWZ0AAAAAOB69EtACEZsaXBIb3Jpem9udGFsbHkAAAhGbGlwSG9yaXpvbnRhbGx5QXBwbGllZAAACEZsaXBWZXJ0aWNhbGx5AAAIRmxpcFZlcnRpY2FsbHlBcHBsaWVkAAABUm90YXRpb24AAAAAAAAAAAABWk9yZGVyAAAAAAAAAD5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SZWN0YW5nbGUAWgYAAAJBdXRvU2hhcGVUeXBlAAoAAABSZWN0YW5nbGUABU1hbmFnZWRJZAAQAAAABJGFhp+BLhNAtzIJiWl5S2YISGFzQ2hhbmdlcwAACFVzZU5hbWVJbnN0ZWFkT2ZUYWdBc0lkAAAIU2hhcGVQcmV2aW91c2x5Q3JlYXRlZAABA0ZpbGxDb2xvcgBVAAAAEEEA/wAAABBSAEUAAAAQRwBZAAAAEEIAbgAAAAFTY0EAAAAAAAAA8D8BU2NSAAAAAMBBeK4/AVNjRwAAAACA9pK5PwFTY0IAAAAAAGb1wz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A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4M+WLUABV2lkdGgAAAAA4FF6i0ABVG9wAAAAAAAXHXlAAUxlZnQAAAAA4Hr0RkAIRmxpcEhvcml6b250YWxseQAACEZsaXBIb3Jpem9udGFsbHlBcHBsaWVkAAAIRmxpcFZlcnRpY2FsbHkAAAhGbGlwVmVydGljYWxseUFwcGxpZWQAAAFSb3RhdGlvbgAAAAAAAAAAAAFaT3JkZXIAAAAAAAAAJk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HkAAAAFeAAAAHoAAADnDwAAAAAAAAAAAABIYW5naW5nUHVuY3R1YXRpb24AABBJbmRlbnRMZXZlbAAAAAAAAUxlZnRJbmRlbnQAAAAAAAAAAAAITGluZVJ1bGVBZnRlcgAACExpbmVSdWxlQmVmb3JlAAAITGluZVJ1bGVXaXRoaW4AAAFSaWdodEluZGVudAAAAAAAAAAAAAFTcGFjZUFmdGVyAAAAAAAAAAAAAVNwYWNlQmVmb3JlAAAAAAAAAAAAAVNwYWNlV2l0aGluAAAAAAAAAAAAAANTZXBhcmF0b3JMaW5lAMcGAAADU3RhcnQAGwAAAAFYAM3MzKxHwUZAAVkAKUmSeM0JekAAA0VuZAAbAAAAAVgAMzMzwczsjEABWQApSZJ4zQl6QAACU3RhcnRBcnJvd0hlYWQAEQAAAG1zb0Fycm93aGVhZE5vbmUAAkVuZEFycm93SGVhZAARAAAAbXNvQXJyb3doZWFkTm9uZQAFTWFuYWdlZElkABAAAAAEgBFBytlgl0+CIgVO1sCP+QhIYXNDaGFuZ2VzAAAIVXNlTmFtZUluc3RlYWRPZlRhZ0FzSWQAAAhTaGFwZVByZXZpb3VzbHlDcmVhdGVkAAEDRmlsbENvbG9yAFUAAAAQQQAAAAAAEFIAAAAAABBHAAAAAAAQQgAAAAAAAVNjQQAAAAAAAADwvwFTY1IAAAAAAAAA8L8BU2NHAAAAAAAAAPC/AVNjQgAAAAAAAADwv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A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AAAAAAAAFXaWR0aAAAAABAuICLQAFUb3AAAAAAgM0JekABTGVmdAAAAACgR8FGQAhGbGlwSG9yaXpvbnRhbGx5AAAIRmxpcEhvcml6b250YWxseUFwcGxpZWQAAAhGbGlwVmVydGljYWxseQAACEZsaXBWZXJ0aWNhbGx5QXBwbGllZAAAAVJvdGF0aW9uAAAAAAAAAAAAAVpPcmRlcgAAAAAAAAAoQANCb3JkZXJDb2xvcgBVAAAAEEEA/wAAABBSAN4AAAAQRwDeAAAAEEIA3gAAAAFTY0EAAAAAAAAA8D8BU2NSAAAAAEDvX+c/AVNjRwAAAABA71/nPwFTY0IAAAAAQO9f5z8AEEJvcmRlclRoZW1lQ29sb3IAAAAAAAFCb3JkZXJUaW50QW5kU2hhZGUAAAAAAAAAAAAQQm9yZGVyU2NoZW1lQ29sb3IAAAAAAAFCb3JkZXJUaGlja25lc3MAAAAAAAAA8D8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1N1bW1hcnlSZW5kZXJJbmZvAK4MAAADUmVjdGFuZ2xlAFoGAAACQXV0b1NoYXBlVHlwZQAKAAAAUmVjdGFuZ2xlAAVNYW5hZ2VkSWQAEAAAAATLn6oWzopMRoiAWI+mtFtUCEhhc0NoYW5nZXMAAAhVc2VOYW1lSW5zdGVhZE9mVGFnQXNJZAAACFNoYXBlUHJldmlvdXNseUNyZWF0ZWQAAQNGaWxsQ29sb3IAVQAAABBBAAAAAAAQUgAAAAAAEEcAAAAAABBCAAAAAAABU2NBAAAAAAAAAPC/AVNjUgAAAAAAAADwvwFTY0cAAAAAAAAA8L8BU2NCAAAAAAAAAPC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AIVmlzaWJsZQAA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CA67F0QAFMZWZ0AAAAAEDhWH5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MYWJlbAA9BgAABU1hbmFnZWRJZAAQAAAABDqM/jOBSiBHvUJQzAsYZkkISGFzQ2hhbmdlcwAACFVzZU5hbWVJbnN0ZWFkT2ZUYWdBc0lkAAAIU2hhcGVQcmV2aW91c2x5Q3JlYXRlZAABA0ZpbGxDb2xvcgBVAAAAEEEAAAAAABBSAAAAAAAQRwAAAAAAEEIAAAAAAAFTY0EAAAAAAAAA8L8BU2NSAAAAAAAAAPC/AVNjRwAAAAAAAADwvwFTY0IAAAAAAAAA8L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AhWaXNpYmxlAAACRmlsbFBhdHRlcm4AEAAAAG1zb1BhdHR6AAAABXkAAAD/////0QQWCwAAAAAAAAAA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AAAAAAAAVdpZHRoAAAAAAAAAAAAAVRvcAAAAACA67F0QAFMZWZ0AAAAAEDhWH5ACEZsaXBIb3Jpem9udGFsbHkAAAhGbGlwSG9yaXpvbnRhbGx5QXBwbGllZAAACEZsaXBWZXJ0aWNhbGx5AAAIRmxpcFZlcnRpY2FsbHlBcHBsaWVkAAABUm90YXRpb24AAAAAAAAAAAABWk9yZGVyAAAAAAAAAAA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CVGV4dEhvcml6b250YWxBbGlnbm1lbnQADgAAAG1zb0FuY2hvck5vbmUAAAACTmFtZQAJAAAAU2VjdGlvbnMAEFZlcnNpb24AAwAAAAlMYXN0V3JpdGUABsLo4n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ewAAAAV8AAAA/////58KSAUAAAAAAAAAAA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gvjd1QAFMZWZ0AAAAAICZ6YxACEZsaXBIb3Jpem9udGFsbHkAAAhGbGlwSG9yaXpvbnRhbGx5QXBwbGllZAAACEZsaXBWZXJ0aWNhbGx5AAAIRmxpcFZlcnRpY2FsbHlBcHBsaWVkAAABUm90YXRpb24AAAAAAAAAAAABWk9yZGVyAAAAAAAAAAAAA0JvcmRlckNvbG9yAFUAAAAQQQD/AAAAEFIA3gAAABBHAN4AAAAQQgDeAAAAAVNjQQAAAAAAAADwPwFTY1IAAAAAQO9f5z8BU2NHAAAAAEDvX+c/AVNjQgAAAABA71/nPwAQQm9yZGVyVGhlbWVDb2xvcgAAAAAAAUJvcmRlclRpbnRBbmRTaGFkZQAAAAAAAAAAABBCb3JkZXJTY2hlbWVDb2xvcgAAAAAAAUJvcmRlclRoaWNrbmVzcwAAAAAAAADg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DVG9wQ292ZXIAaQYAAANUb3BDb3ZlcgBaBgAAAkF1dG9TaGFwZVR5cGUACgAAAFJlY3RhbmdsZQAFTWFuYWdlZElkABAAAAAEJaSaHSpBwkuoh7GQxkd76ghIYXNDaGFuZ2VzAAAIVXNlTmFtZUluc3RlYWRPZlRhZ0FzSWQAAAhTaGFwZVByZXZpb3VzbHlDcmVhdGVkAAEDRmlsbENvbG9yAFUAAAAQQQAAAAAAEFIA/wAAABBHAP8AAAAQQgD/AAAAAVNjQQAAAAAAAAAAAAFTY1IAAAAAAAAA8D8BU2NHAAAAAAAAAPA/AVNjQgAAAAAAAADw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DgUZh2QAFXaWR0aAAAAADgUXqLQAFUb3AAAAAAIIXLYkABTGVmdAAAAADgevRGQAhGbGlwSG9yaXpvbnRhbGx5AAAIRmxpcEhvcml6b250YWxseUFwcGxpZWQAAAhGbGlwVmVydGljYWxseQAACEZsaXBWZXJ0aWNhbGx5QXBwbGllZAAAAVJvdGF0aW9uAAAAAAAAAAAAAVpPcmRlcgAAAAAAAECP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JOYW1lABIAAABHbG9iYWxSZW5kZXJJbmZvcwAQVmVyc2lvbgABAAAACUxhc3RXcml0ZQB5wujid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HwAAAAFfQAAAHsAAADnDwAAAAAAAAAAAABhZ2VkSWQAEAAAAATqlF4qh0+4SJY9xXH0u1aACEhhc0NoYW5nZXMAAQhVc2VOYW1lSW5zdGVhZE9mVGFnQXNJZAAACFNoYXBlUHJldmlvdXNseUNyZWF0ZWQAAANGaWxsQ29sb3IAVQAAABBBAAAAAAAQUgAAAAAAEEcAAAAAABBCAAAAAAABU2NBAAAAAAAAAPC/AVNjUgAAAAAAAADwvwFTY0cAAAAAAAAA8L8BU2NCAAAAAAAAAPC/ABBGaWxsVGhlbWVDb2xvcgAAAAAAAUZpbGxUaW50QW5kU2hhZGUAAAAAAAAAAAAQRmlsbFNjaGVtZUNvbG9yAAAAAAADUGF0dGVybkNvbG9yAFUAAAAQQQD/AAAAEFIAAAAAABBHAAAAAAAQQgAAAAAAAVNjQQAAAAAAAADwPwFTY1IAAAAAAAAAAAABU2NHAAAAAAAAAAAAAVNjQgAAAAAAAAAAAAAQUGF0dGVyblRoZW1lQ29sb3IAAAAAAAFQYXR0ZXJuVGludEFuZFNoYWRlAAAAAAAAAAAACEZpbGxWaXNpYmxlAAAIVmlzaWJsZQAAAkZpbGxQYXR0ZXJuABAAAABtc29QYXR0ZXJuTWl4ZWQAAlRleHQAAQAAA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JEaXNwbGF5VGV4dAABAAAAAAFIZWlnaHQAAAAAAAAA8D8BV2lkdGgAAAAAAAAA8D8BVG9wAAAAACC+N3VAAUxlZnQAAAAAgJnpjEAIRmxpcEhvcml6b250YWxseQAACEZsaXBIb3Jpem9udGFsbHlBcHBsaWVkAAAIRmxpcFZlcnRpY2FsbHkAAAhGbGlwVmVydGljYWxseUFwcGxpZWQAAAFSb3RhdGlvbgAAAAAAAAAAAAFaT3JkZXIAAAAAAAAAAAADQm9yZGVyQ29sb3IAVQAAABBBAP8AAAAQUgDeAAAAEEcA3gAAABBCAN4AAAABU2NBAAAAAAAAAPA/AVNjUgAAAABA71/nPwFTY0cAAAAAQO9f5z8BU2NCAAAAAEDvX+c/ABBCb3JkZXJUaGVtZUNvbG9yAAAAAAABQm9yZGVyVGludEFuZFNoYWRlAAAAAAAAAAAAEEJvcmRlclNjaGVtZUNvbG9yAAAAAAABQm9yZGVyVGhpY2tuZXNzAAAAAAAAAOA/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ANSaWdodE5vdGVzAHYNAAADTm90ZUhlYWRlcgBvBgAABU1hbmFnZWRJZAAQAAAABMiT7W/wjctDos0w2ReQA9k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P8AAAAQUgD/AAAAEEcA/wAAABBCAP8AAAABU2NBAAAAAAAAAPA/AVNjUgAAAAAAAADwPwFTY0cAAAAAAAAA8D8BU2NCAAAAAAAAAPA/ABBQYXR0ZXJuVGhlbWVDb2xvcgAAAAAAAVBhdHRlcm5UaW50QW5kU2hhZGUAAAAAAAAAAAAIRmlsbFZpc2libGUAAAhWaXNpYmxlAAACRmlsbFBhdHRlcm4AEAAAAG1zb1BhdHRlcm5NaXhlZAACVGV4dAABAAAAAAJUZXh0SG9yaXpvbnRhbEFsaWdubWVudAAOAAAAbXNvQW5jaG9yTm9uZQACVGV4dFZlcnRpY2FsQWxpZ25tZW50AA0AAABtc29BbmNob3JUb3AAA0ZvbnRTdHlsZQBBAQAAEEZvbnRCYWNrZ3JvdW5kAAAAAAAIRm9udEJvbGQAAANGb250Q29sb3IAVQAAABBBAP8AAAAQUgAAAAAAEEcAAAAAABBCAAAAAAABU2NBAAAAAAAAAPA/AVNjUgAAAAAAAAAAAAFTY0cAAAAAAAAAAAABU2NCAAAAAAAAAAAAABBGb250VGhlbWVDb2xvcgAA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EAAAAAAUhlaWdodAAAAAAAAADwPwFXaWR0aAAAAAAAAADwPwFUb3AAAAAAIL43dUABTGVmdAAAAACAmemMQAhGbGlwSG9yaXpvbnRhbGx5AAAIRmxpcEhvcml6b250YWxseUFwcGxpZWQAAAhGbGlwVmVydGljYWxseQAACEZsaXBWZXJ0aWNhbGx5QXBwbGllZAAAAVJvdGF0aW9uAAAAAAAAAAAAAVpPcmRlcgAAAAAAAAAAAANCb3JkZXJDb2xvcgBVAAAAEEEAAAAAABBSAP8AAAAQRwD/AAAAEEIA/wAAAAFTY0EAAAAAAAAAAAABU2NSAAAAAAAAAPA/AVNjRwAAAAAAAADwPwFTY0IAAAAAAAAA8D8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VmVydGljYWxMaW5lRGF0YQDkBgAAA1N0YXJ0ABsAAAABWAAAAACAmemMQAFZAAAAACC+N3VAAANFbmQAGwAAAAFYAAAAAICZ8YxAAVkAAAAAIL5HdUAAAlN0YXJ0QXJyb3dIZWFkABEAAABtc29BcnJvd2hlYWROb25lAAJFbmRBcnJvd0hlYWQAEQAAAG1zb0Fycm93aGVhZE5vbmUABU1hbmFnZWRJZAAQAAAABJ4k19yr+pFJgZ8tsSKdTfQISGFzQ2hhbmdlcwABCFVzZU5hbWVJbnN0ZWFkT2ZUYWdBc0lkAAAIU2hhcGVQcmV2aW91c2x5Q3JlYXRlZAAAA0ZpbGxDb2xvcgBVAAAAEEEAAAAAABBSAAAAAAAQRwAAAAAAEEIAAAAAAAFTY0EAAAAAAAAA8L8BU2NSAAAAAAAAAPC/AVNjRwAAAAAAAADwvwFTY0IAAAAAAAAA8L8AEEZpbGxUaGVtZUNvbG9yAAAAAAABRmlsbFRpbnRBbmRTaGFkZQAAAAAAAAAAABBGaWxsU2NoZW1lQ29sb3IAAAAAAANQYXR0ZXJuQ29sb3IAVQAAABBBAP8AAAAQUgAAAAAAEEcAAAAAABBCAAAAAAABU2NBAAAAAAAAAPA/AVNjUgAAAAAAAAAAAAFTY0cAAAAAAAAAAAABU2NCAAAAAAAAAAAAABBQYXR0ZXJuVGhlbWVDb2xvcgAAAAAAAVBhdHRlcm5UaW50QW5kU2hhZGUAAAAAAAAAAAAIRmlsbFZpc2libGUAAAhWaXNpYmxlAAACRmlsbFBhdHRlcm4AEAAAAG1zb1BhdHRlcm5NaXhlZAACVGV4dAABAAAAAAJUZXh0SG9yaXpvbnRhbEFsaWdubWVudAAOAAAAbXNvQW5jaG9yTm9uZQACVGV4dFZlcnRpY2FsQWxpZ25tZW50AA0AAABtc29BbmNob3JUb3AAA0ZvbnRTdHlsZQAsAQAAEEZvbnRCYWNrZ3JvdW5kAAAAAAAIRm9udEJvbGQAAANGb250Q29sb3J9AAAABX4AAAB8AAAA5w8AAAAAAAAAAAAAZHRoAAAAAADgmz9AAVRvcAAAAAAgOIZmQAFMZWZ0AAAAAAB8g4p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MgBaBgAAAkF1dG9TaGFwZVR5cGUACgAAAFJlY3RhbmdsZQAFTWFuYWdlZElkABAAAAAEXNO+YR3YgEqjZwj3uImlzwhIYXNDaGFuZ2VzAAAIVXNlTmFtZUluc3RlYWRPZlRhZ0FzSWQAAAhTaGFwZVByZXZpb3VzbHlDcmVhdGVkAAEDRmlsbENvbG9yAFUAAAAQQQD/AAAAEFIA8QAAABBHAPEAAAAQQgDxAAAAAVNjQQAAAAAAAADwPwFTY1IAAAAA4N0l7D8BU2NHAAAAAODdJew/AVNjQgAAAADg3SX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+Lp0QAFXaWR0aAAAAACg5BcrQAFUb3AAAAAAIDiGZkABTGVmdAAAAAAAOn2M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AAANMZWZ0Tm90ZXMAdg0AAANOb3RlSGVhZGVyAG8GAAAFTWFuYWdlZElkABAAAAAEKH2Lc/s2wU6QTq5MiyOeWghIYXNDaGFuZ2VzAAEIVXNlTmFtZUluc3RlYWRPZlRhZ0FzSWQAAAhTaGFwZVByZXZpb3VzbHlDcmVhdGVkAAADRmlsbENvbG9yAFUAAAAQQQAAAAAAEFIAAAAAABBHAAAAAAAQQgAAAAAAAVNjQQAAAAAAAADwvwFTY1IAAAAAAAAA8L8BU2NHAAAAAAAAAPC/AVNjQgAAAAAAAADwvwAQRmlsbFRoZW1lQ29sb3IAAAAAAAFGaWxsVGludEFuZFNoYWRlAAAAAAAAAAAAEEZpbGxTY2hlbWVDb2xvcgAAAAAAA1BhdHRlcm5Db2xvcgBVAAAAEEEA/wAAABBSAP8AAAAQRwD/AAAAEEIA/wAAAAFTY0EAAAAAAAAA8D8BU2NSAAAAAAAAAPA/AVNjRwAAAAAAAADwPwFTY0IAAAAAAAAA8D8AEFBhdHRlcm5UaGVtZUNvbG9yAAAAAAABUGF0dGVyblRpbnRBbmRTaGFkZQAAAAAAAAAAAAhGaWxsVmlzaWJsZQAACFZpc2libGUAAAJGaWxsUGF0dGVybgAQAAAAbXNvUGF0dGVybk1peGVkAAJUZXh0AAEAAAAAAlRleHRIb3Jpem9udGFsQWxpZ25tZW50AA4AAABtc29BbmNob3JOb25lAAJUZXh0VmVydGljYWxBbGlnbm1lbnQADQAAAG1zb0FuY2hvclRvcAADRm9udFN0eWxlAEEBAAAQRm9udEJhY2tncm91bmQAAAAAAAhGb250Qm9sZAAAA0ZvbnRDb2xvcgBVAAAAEEEA/wAAABBSAAAAAAAQRwAAAAAAEEIAAAAAAAFTY0EAAAAAAAAA8D8BU2NSAAAAAAAAAAAAAVNjRwAAAAAAAAAAAAFTY0IAAAAAAAAAAAAAEEZvbnRUaGVtZUNvbG9yAAAAAAABRm9udFRpbnRBbmRTaGFkZQAAAAAAAAAAABBGb250U2NoZW1lQ29sb3IAAAAAAAhGb250SXRhbGljAAACRm9udE5hbWUABwAAACttbi1sdAABRm9udFNpemUAAAAAAAAAKEAIRm9udFN0cmlrZXRocm91Z2gAAAhGb250U3Vic2NyaXB0AAAIRm9udFN1cGVyc2NyaXB0AAAIRm9udFVuZGVybGluZQAAAAhTaXplVG9UZXh0V2lkdGgAAAhTaXplVG9UZXh0SGVpZ2h0AAADVGV4dE1hcmdpbgA/AAAAAUxlZnQAAAAAAAAAAAABVG9wAAAAAAAAAAAAAVJpZ2h0AAAAAAAAAAAAAUJvdHRvbQAAAAAAAAAAAAACRGlzcGxheVRleHQAAQAAAAABSGVpZ2h0AAAAAAAAAPA/AVdpZHRoAAAAAAAAAPA/AVRvcAAAAAAgvjd1QAFMZWZ0AAAAAICZ6YxACEZsaXBIb3Jpem9udGFsbHkAAAhGbGlwSG9yaXpvbnRhbGx5QXBwbGllZAAACEZsaXBWZXJ0aWNhbGx5AAAIRmxpcFZlcnRpY2FsbHlBcHBsaWVkAAABUm90YXRpb24AAAAAAAAAAAABWk9yZGVyAAAAAAAAAAAAA0JvcmRlckNvbG9yAFUAAAAQQQAAAAAAEFIA/wAAABBHAP8AAAAQQgD/AAAAAVNjQQAAAAAAAAAAAAFTY1IAAAAAAAAA8D8BU2NHAAAAAAAAAPA/AVNjQgAAAAAAAADwPw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NWZXJ0aWNhbExpbmVEYXRhAOQGAAADU3RhcnQAGwAAAAFYAAAAAICZ6YxAAVkAAAAAIL43dUAAA0VuZAAbAAAAAVgAAAAAgJnxjEABWQAAAAAgvkd1QAACU3RhcnRBcnJvd0hlYWQAEQAAAG1zb0Fycm93aGVhZE5vbmUAAkVuZEFycm93SGVhZAARAAAAbXNvQXJyb3doZWFkTm9uZQAFTWFufgAAAAV/AAAAfQAAAOcPAAAAAAAAAAAAAEIAAAAA4N0l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Pi6dEABV2lkdGgAAAAAAOCbP0ABVG9wAAAAACA4hmZAAUxlZnQAAAAAAACQhk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EwAFoGAAACQXV0b1NoYXBlVHlwZQAKAAAAUmVjdGFuZ2xlAAVNYW5hZ2VkSWQAEAAAAARCgfyo/vWUS4K/9YVt/cV4CEhhc0NoYW5nZXMAAAhVc2VOYW1lSW5zdGVhZE9mVGFnQXNJZAAACFNoYXBlUHJldmlvdXNseUNyZWF0ZWQAAQNGaWxsQ29sb3IAVQAAABBBAP8AAAAQUgDxAAAAEEcA8QAAABBCAPEAAAABU2NBAAAAAAAAAPA/AVNjUgAAAADg3SXsPwFTY0cAAAAA4N0l7D8BU2NCAAAAAODdJ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GD4unRAAVdpZHRoAAAAAADgmz9AAVRvcAAAAAAgOIZmQAFMZWZ0AAAAAAC+iYh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MQBaBgAAAkF1dG9TaGFwZVR5cGUACgAAAFJlY3RhbmdsZQAFTWFuYWdlZElkABAAAAAEFPpNXsVg+U62md5/2pOEKwhIYXNDaGFuZ2VzAAAIVXNlTmFtZUluc3RlYWRPZlRhZ0FzSWQAAAhTaGFwZVByZXZpb3VzbHlDcmVhdGVkAAEDRmlsbENvbG9yAFUAAAAQQQD/AAAAEFIA8QAAABBHAPEAAAAQQgDxAAAAAVNjQQAAAAAAAADwPwFTY1IAAAAA4N0l7D8BU2NHAAAAAODdJew/AVNjQgAAAADg3SX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+Lp0QAFXaX8AAAAFgAAAAH4AAADnDwAAAAAAAAAAAAAAAADgmz9AAVRvcAAAAAAgOIZmQAFMZWZ0AAAAAADGooB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3AFoGAAACQXV0b1NoYXBlVHlwZQAKAAAAUmVjdGFuZ2xlAAVNYW5hZ2VkSWQAEAAAAAR7HOQ+CvCOTYPfRY1avdXsCEhhc0NoYW5nZXMAAAhVc2VOYW1lSW5zdGVhZE9mVGFnQXNJZAAACFNoYXBlUHJldmlvdXNseUNyZWF0ZWQAAQNGaWxsQ29sb3IAVQAAABBBAP8AAAAQUgDxAAAAEEcA8QAAABBCAPEAAAABU2NBAAAAAAAAAPA/AVNjUgAAAADg3SXsPwFTY0cAAAAA4N0l7D8BU2NCAAAAAODdJ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GD4unRAAVdpZHRoAAAAAADgmz9AAVRvcAAAAAAgOIZmQAFMZWZ0AAAAAACEnIJ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4AFoGAAACQXV0b1NoYXBlVHlwZQAKAAAAUmVjdGFuZ2xlAAVNYW5hZ2VkSWQAEAAAAAQLMc8fw5c7RLZHBDq4oLvoCEhhc0NoYW5nZXMAAAhVc2VOYW1lSW5zdGVhZE9mVGFnQXNJZAAACFNoYXBlUHJldmlvdXNseUNyZWF0ZWQAAQNGaWxsQ29sb3IAVQAAABBBAP8AAAAQUgDxAAAAEEcA8QAAABBCAPEAAAABU2NBAAAAAAAAAPA/AVNjUgAAAADg3SXsPwFTY0cAAAAA4N0l7D8BU2NCAAAAAODdJ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GD4unRAAVdpZHRoAAAAAADgmz9AAVRvcAAAAAAgOIZmQAFMZWZ0AAAAAABCloR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5AFoGAAACQXV0b1NoYXBlVHlwZQAKAAAAUmVjdGFuZ2xlAAVNYW5hZ2VkSWQAEAAAAARH4ZZ9w3oZSr1VbKZS8sf3CEhhc0NoYW5nZXMAAAhVc2VOYW1lSW5zdGVhZE9mVGFnQXNJZAAACFNoYXBlUHJldmlvdXNseUNyZWF0ZWQAAQNGaWxsQ29sb3IAVQAAABBBAP8AAAAQUgDxAAAAEEcA8QAAABBCAPEAAAABU2NBAAAAAAAAAPA/AVNjUgAAAADg3SXsPwFTY0cAAAAA4N0l7D8BU2OAAAAABYEAAAB/AAAA5w8AAAAAAAAAAAAAAADg3SX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+Lp0QAFXaWR0aAAAAAAA4Js/QAFUb3AAAAAAIDiGZkABTGVmdAAAAADgk155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QBaBgAAAkF1dG9TaGFwZVR5cGUACgAAAFJlY3RhbmdsZQAFTWFuYWdlZElkABAAAAAE/MjJ9BwjgE+OUgJhIvykqAhIYXNDaGFuZ2VzAAAIVXNlTmFtZUluc3RlYWRPZlRhZ0FzSWQAAAhTaGFwZVByZXZpb3VzbHlDcmVhdGVkAAEDRmlsbENvbG9yAFUAAAAQQQD/AAAAEFIA8QAAABBHAPEAAAAQQgDxAAAAAVNjQQAAAAAAAADwPwFTY1IAAAAA4N0l7D8BU2NHAAAAAODdJew/AVNjQgAAAADg3SX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+Lp0QAFXaWR0aAAAAAAA4Js/QAFUb3AAAAAAIDiGZkABTGVmdAAAAADgD1J9QAhGbGlwSG9yaXpvbnRhbGx5AAAIRmxpcEhvcml6b250YWxseUFwcGxpZWQAAAhGbGlwVmVydGljYWxseQAACEZsaXBWZXJ0aWNhbGx5QXBwbGllZAAAAVJvdGF0aW9uAAAAAAAAAAAAAVpPcmRlcgAAAAAAAAAkQANCb3JkZXJDb2xvcgBVAAAAEEEAAAAAABBSAAAAAAAQRwAAAAAAEEIAAAAAAAFTY0EAAAAAAAAAAAABU2NSAAAAAAAAAAAAAVNjRwAAAAAAAAAAAAFTY0IAAAAAAAAAAAAAEEJvcmRlclRoZW1lQ29sb3IAAAAAAAFCb3JkZXJUaW50QW5kU2hhZGUAAAAAAAAAAAAQQm9yZGVyU2NoZW1lQ29sb3IAAAAAAAFCb3JkZXJUaGlja25lc3MAAAAAAAAAAAACTGluZURhc2hTdHlsZQAKAAAATGluZVNvbGlkAAFGaXJzdExpbmVJbmRlbnQAAAAAAAAAAAAISGFuZ2luZ1B1bmN0dWF0aW9uAAAQSW5kZW50TGV2ZWwAAAAAAAFMZWZ0SW5kZW50AAAAAAAAAAAACExpbmVSdWxlQWZ0ZXIAAAhMaW5lUnVsZUJlZm9yZQAACExpbmVSdWxlV2l0aGluAAABUmlnaHRJbmRlbnQAAAAAAAAAAAABU3BhY2VBZnRlcgAAAAAAAAAAAAFTcGFjZUJlZm9yZQAAAAAAAAAAAAFTcGFjZVdpdGhpbgAAAAAAAAAAAAADNgBaBgAAAkF1dG9TaGFwZVR5cGUACgAAAFJlY3RhbmdsZQAFTWFuYWdlZElkABAAAAAESMP/dWKUYE+He4eyUG4cFghIYXNDaGFuZ2VzAAAIVXNlTmFtZUluc3RlYWRPZlRhZ0FzSWQAAAhTaGFwZVByZXZpb3VzbHlDcmVhdGVkAAEDRmlsbENvbG9yAFUAAAAQQQD/AAAAEFIA8QAAABBHAPEAAAAQQgDxAAAAAVNjQQAAAAAAAADwPwFTY1IAAAAA4N0l7D8BU2NHAAAAAODdJew/AVNjQgAAAADg3SXsPwAQRmlsbFRoZW1lQ29sb3IAAAAAAAFGaWxsVGludEFuZFNoYWRlAAAAAAAAAAAAEEZpbGxTY2hlbWVDb2xvcgAAAAAAA1BhdHRlcm5Db2xvcgBVAAAAEEEAAAAAABBSAAAAAAAQRwAAAAAAEEIAAAAAAAFTY0EAAAAAAAAAAAABU2NSAAAAAAAAAAAAAVNjRwAAAAAAAAAAAAFTY0IAAAAAAAAAAAAAEFBhdHRlcm5UaGVtZUNvbG9yAAAAAAABUGF0dGVyblRpbnRBbmRTaGFkZQAAAAAAAAAAAAhGaWxsVmlzaWJsZQABCFZpc2libGUAAQJGaWxsUGF0dGVybgAQAAAAbXNvUGF0dGVybk1peGVkAAJUZXh0SG9yaXpvbnRhbEFsaWdubWVudAAOAAAAbXNvQW5jaG9yTm9uZQACVGV4dFZlcnRpY2FsQWxpZ25tZW50AA0AAABtc29BbmNob3JUb3AAA0ZvbnRTdHlsZQAsAQAAEEZvbnRCYWNrZ3JvdW5kAAAAAAAIRm9udEJvbGQAAANGb250Q29sb3IAVQAAABBBAAAAAAAQUgAAAAAAEEcAAAAAABBCAAAAAAABU2NBAAAAAAAAAAAAAVNjUgAAAAAAAAAAAAFTY0cAAAAAAAAAAAABU2NCAAAAAAAAAAAAABBGb250VGhlbWVDb2xvcgAAAAAAAUZvbnRUaW50QW5kU2hhZGUAAAAAAAAAAAAQRm9udFNjaGVtZUNvbG9yAAAAAAAIRm9udEl0YWxpYwAAAUZvbnRTaXplAAAAAAAAAAAACEZvbnRTdHJpa2V0aHJvdWdoAAAIRm9udFN1YnNjcmlwdAAACEZvbnRTdXBlcnNjcmlwdAAACEZvbnRVbmRlcmxpbmUAAAAIU2l6ZVRvVGV4dFdpZHRoAAAIU2l6ZVRvVGV4dEhlaWdodAAAA1RleHRNYXJnaW4APwAAAAFMZWZ0AAAAAAAAAAAAAVRvcAAAAAAAAAAAAAFSaWdodAAAAAAAAAAAAAFCb3R0b20AAAAAAAAAAAAAAUhlaWdodAAAAABg+Lp0QAFXaWR0aAAAgQAAAAWCAAAAgAAAAOcPAAAAAAAAAAAAAOCbP0ABVG9wAAAAACA4hmZAAUxlZnQAAAAAoD8Ia0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IAWgYAAAJBdXRvU2hhcGVUeXBlAAoAAABSZWN0YW5nbGUABU1hbmFnZWRJZAAQAAAABJuHa9ydycFPofyK96QY8dIISGFzQ2hhbmdlcwAACFVzZU5hbWVJbnN0ZWFkT2ZUYWdBc0lkAAAIU2hhcGVQcmV2aW91c2x5Q3JlYXRlZAABA0ZpbGxDb2xvcgBVAAAAEEEA/wAAABBSAPEAAAAQRwDxAAAAEEIA8QAAAAFTY0EAAAAAAAAA8D8BU2NSAAAAAODdJew/AVNjRwAAAADg3SXsPwFTY0IAAAAA4N0l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Pi6dEABV2lkdGgAAAAAAOCbP0ABVG9wAAAAACA4hmZAAUxlZnQAAAAA4Jt3cU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MAWgYAAAJBdXRvU2hhcGVUeXBlAAoAAABSZWN0YW5nbGUABU1hbmFnZWRJZAAQAAAABGfrxWDBHoZGqg2lSAaSqScISGFzQ2hhbmdlcwAACFVzZU5hbWVJbnN0ZWFkT2ZUYWdBc0lkAAAIU2hhcGVQcmV2aW91c2x5Q3JlYXRlZAABA0ZpbGxDb2xvcgBVAAAAEEEA/wAAABBSAPEAAAAQRwDxAAAAEEIA8QAAAAFTY0EAAAAAAAAA8D8BU2NSAAAAAODdJew/AVNjRwAAAADg3SXsPwFTY0IAAAAA4N0l7D8AEEZpbGxUaGVtZUNvbG9yAAAAAAABRmlsbFRpbnRBbmRTaGFkZQAAAAAAAAAAABBGaWxsU2NoZW1lQ29sb3IAAAAAAANQYXR0ZXJuQ29sb3IAVQAAABBBAAAAAAAQUgAAAAAAEEcAAAAAABBCAAAAAAABU2NBAAAAAAAAAAAAAVNjUgAAAAAAAAAAAAFTY0cAAAAAAAAAAAABU2NCAAAAAAAAAAAAABBQYXR0ZXJuVGhlbWVDb2xvcgAAAAAAAVBhdHRlcm5UaW50QW5kU2hhZGUAAAAAAAAAAAAIRmlsbFZpc2libGUAAQhWaXNpYmxlAAECRmlsbFBhdHRlcm4AEAAAAG1zb1BhdHRlcm5NaXhlZAACVGV4dEhvcml6b250YWxBbGlnbm1lbnQADgAAAG1zb0FuY2hvck5vbmUAAlRleHRWZXJ0aWNhbEFsaWdubWVudAANAAAAbXNvQW5jaG9yVG9wAANGb250U3R5bGUALAEAABBGb250QmFja2dyb3VuZAAAAAAACEZvbnRCb2xkAAADRm9udENvbG9yAFUAAAAQQQAAAAAAEFIAAAAAABBHAAAAAAAQQgAAAAAAAVNjQQAAAAAAAAAAAAFTY1IAAAAAAAAAAAABU2NHAAAAAAAAAAAAAVNjQgAAAAAAAAAAAAAQRm9udFRoZW1lQ29sb3IAAAAAAAFGb250VGludEFuZFNoYWRlAAAAAAAAAAAAEEZvbnRTY2hlbWVDb2xvcgAAAAAACEZvbnRJdGFsaWMAAAFGb250U2l6ZQAAAAAAAAAAAAhGb250U3RyaWtldGhyb3VnaAAACEZvbnRTdWJzY3JpcHQAAAhGb250U3VwZXJzY3JpcHQAAAhGb250VW5kZXJsaW5lAAAACFNpemVUb1RleHRXaWR0aAAACFNpemVUb1RleHRIZWlnaHQAAANUZXh0TWFyZ2luAD8AAAABTGVmdAAAAAAAAAAAAAFUb3AAAAAAAAAAAAABUmlnaHQAAAAAAAAAAAABQm90dG9tAAAAAAAAAAAAAAFIZWlnaHQAAAAAYPi6dEABV2lkdGgAAAAAAOCbP0ABVG9wAAAAACA4hmZAAUxlZnQAAAAA4BdrdUAIRmxpcEhvcml6b250YWxseQAACEZsaXBIb3Jpem9udGFsbHlBcHBsaWVkAAAIRmxpcFZlcnRpY2FsbHkAAAhGbGlwVmVydGljYWxseUFwcGxpZWQAAAFSb3RhdGlvbgAAAAAAAAAAAAFaT3JkZXIAAAAAAAAAJEADQm9yZGVyQ29sb3IAVQAAABBBAAAAAAAQUgAAAAAAEEcAAAAAABBCAAAAAAABU2NBAAAAAAAAAAAAAVNjUgAAAAAAAAAAAAFTY0cAAAAAAAAAAAABU2NCAAAAAAAAAAAAABBCb3JkZXJUaGVtZUNvbG9yAAAAAAABQm9yZGVyVGludEFuZFNoYWRlAAAAAAAAAAAAEEJvcmRlclNjaGVtZUNvbG9yAAAAAAABQm9yZGVyVGhpY2tuZXNzAAAAAAAAAAAAAkxpbmVEYXNoU3R5bGUACgAAAExpbmVTb2xpZAABRmlyc3RMaW5lSW5kZW50AAAAAAAAAAAACEhhbmdpbmdQdW5jdHVhdGlvbgAAEEluZGVudExldmVsAAAAAAABTGVmdEluZGVudAAAAAAAAAAAAAhMaW5lUnVsZUFmdGVyAAAITGluZVJ1bGVCZWZvcmUAAAhMaW5lUnVsZVdpdGhpbgAAAVJpZ2h0SW5kZW50AAAAAAAAAAAAAVNwYWNlQWZ0ZXIAAAAAAAAAAAABU3BhY2VCZWZvcmUAAAAAAAAAAAABU3BhY2VXaXRoaW4AAAAAAAAAAAAAAzQAWgYAAAJBdXRvU2hhcGVUeXBlAAoAAABSZWN0YW5nbGUABU1hbmFnZWRJZAAQAAAABA0HOeZkgLNDvHKauIo1PP0ISGFzQ2hhbmdlcwAACFVzZU5hbWVJbnN0ZWFkT2ZUYWdBc0lkAAAIU2hhcGVQcmV2aW91c2x5Q3JlYXRlZAABA0ZpbGxDb2xvcgBVAAAAEEEA/wAAABBSAPEAAAAQRwDxAAAAEEIA8QAAAAFTY0EAAAAAAAAA8D8BU2NSAAAAAODdJew/AVNjRwAAAADg3SXsPwFTY0IAAIIAAAAFEwAAAIEAAADnDwAAAAAAAAAAAAAAAAAAAAAAAVNjRwAAAAAAAAAAAAFTY0IAAAAAAAAAAAAAEFBhdHRlcm5UaGVtZUNvbG9yAAAAAAABUGF0dGVyblRpbnRBbmRTaGFkZQAAAAAAAAAAAAhGaWxsVmlzaWJsZQABCFZpc2libGUAAQJGaWxsUGF0dGVybgAQAAAAbXNvUGF0dGVybk1peGVkAAJUZXh0AAMAAAAyNgACVGV4dEhvcml6b250YWxBbGlnbm1lbnQAEAAAAG1zb0FuY2hvckNlbnRlcgACVGV4dFZlcnRpY2FsQWxpZ25tZW50ABAAAABtc29BbmNob3JNaWRkbGUAA0ZvbnRTdHlsZQBBAQAAEEZvbnRCYWNrZ3JvdW5kAAAAAAAIRm9udEJvbGQAAANGb250Q29sb3IAVQAAABBBAP8AAAAQUgAAAAAAEEcAAAAAABBCAAAAAAABU2NBAAAAAAAAAPA/AVNjUgAAAAAAAAAAAAFTY0cAAAAAAAAAAAABU2NCAAAAAAAAAAAAABBGb250VGhlbWVDb2xvcgABAAAAAUZvbnRUaW50QW5kU2hhZGUAAAAAAAAAAAAQRm9udFNjaGVtZUNvbG9yAAAAAAAIRm9udEl0YWxpYwAAAkZvbnROYW1lAAcAAAArbW4tbHQAAUZvbnRTaXplAAAAAAAAAChACEZvbnRTdHJpa2V0aHJvdWdoAAAIRm9udFN1YnNjcmlwdAAACEZvbnRTdXBlcnNjcmlwdAAACEZvbnRVbmRlcmxpbmUAAAAIU2l6ZVRvVGV4dFdpZHRoAAAIU2l6ZVRvVGV4dEhlaWdodAAAA1RleHRNYXJnaW4APwAAAAFMZWZ0AAAAAAAAAAAAAVRvcAAAAAAAAAAAAAFSaWdodAAAAAAAAAAAAAFCb3R0b20AAAAAAAAAAAAAAkRpc3BsYXlUZXh0AAMAAAAyNgABSGVpZ2h0AAAAAOCX1S1AAVdpZHRoAAAAAKDkFytAAVRvcAAAAACg3qhkQAFMZWZ0AAAAAAA6fYxACEZsaXBIb3Jpem9udGFsbHkAAAhGbGlwSG9yaXpvbnRhbGx5QXBwbGllZAAACEZsaXBWZXJ0aWNhbGx5AAAIRmxpcFZlcnRpY2FsbHlBcHBsaWVkAAABUm90YXRpb24AAAAAAAAAAAABWk9yZGVyAAAAAAAAACZAA0JvcmRlckNvbG9yAFUAAAAQQQD/AAAAEFIA/wAAABBHAP8AAAAQQgD/AAAAAVNjQQAAAAAAAADwPwFTY1IAAAAAAAAA8D8BU2NHAAAAAAAAAPA/AVNjQgAAAAAAAADwPwAQQm9yZGVyVGhlbWVDb2xvcgACAAAAAUJvcmRlclRpbnRBbmRTaGFkZQAAAAAAAAAAABBCb3JkZXJTY2hlbWVDb2xvcgAAAAAAAUJvcmRlclRoaWNrbmVzcwAAAAAAAADQPw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AERGF5SGVhZGVycwAFAAAAAARHcmlkTGluZXMABQAAAAAEV2Vla0xpbmVzAAUAAAAABEFsdGVybmF0aW5nQmFja2dyb3VuZHMAwVIAAAMwAFoGAAACQXV0b1NoYXBlVHlwZQAKAAAAUmVjdGFuZ2xlAAVNYW5hZ2VkSWQAEAAAAASZcFVqs/oJTq3HhnU9FDYoCEhhc0NoYW5nZXMAAAhVc2VOYW1lSW5zdGVhZE9mVGFnQXNJZAAACFNoYXBlUHJldmlvdXNseUNyZWF0ZWQAAQNGaWxsQ29sb3IAVQAAABBBAP8AAAAQUgDxAAAAEEcA8QAAABBCAPEAAAABU2NBAAAAAAAAAPA/AVNjUgAAAADg3SXsPwFTY0cAAAAA4N0l7D8BU2NCAAAAAODdJ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GD4unRAAVdpZHRoAAAAAADgmz9AAVRvcAAAAAAgOIZmQAFMZWZ0AAAAAKBHIWNACEZsaXBIb3Jpem9udGFsbHkAAAhGbGlwSG9yaXpvbnRhbGx5QXBwbGllZAAACEZsaXBWZXJ0aWNhbGx5AAAIRmxpcFZlcnRpY2FsbHlBcHBsaWVkAAABUm90YXRpb24AAAAAAAAAAAABWk9yZGVyAAAAAAAAACRAA0JvcmRlckNvbG9yAFUAAAAQQQAAAAAAEFIAAAAAABBHAAAAAAAQQgAAAAAAAVNjQQAAAAAAAAAAAAFTY1IAAAAAAAAAAAABU2NHAAAAAAAAAAAAAVNjQgAAAAAAAAAAAAAQQm9yZGVyVGhlbWVDb2xvcgAAAAAAAUJvcmRlclRpbnRBbmRTaGFkZQAAAAAAAAAAABBCb3JkZXJTY2hlbWVDb2xvcgAAAAAAAUJvcmRlclRoaWNrbmVzcwAAAAAAAAAAAAJMaW5lRGFzaFN0eWxlAAoAAABMaW5lU29saWQAAUZpcnN0TGluZUluZGVudAAAAAAAAAAAAAhIYW5naW5nUHVuY3R1YXRpb24AABBJbmRlbnRMZXZlbAAAAAAAAUxlZnRJbmRlbnQAAAAAAAAAAAAITGluZVJ1bGVBZnRlcgAACExpbmVSdWxlQmVmb3JlAAAITGluZVJ1bGVXaXRoaW4AAAFSaWdodEluZGVudAAAAAAAAAAAAAFTcGFjZUFmdGVyAAAAAAAAAAAAAVNwYWNlQmVmb3JlAAAAAAAAAAAAAVNwYWNlV2l0aGluAAAAAAAAAAAAAAMxAFoGAAACQXV0b1NoYXBlVHlwZQAKAAAAUmVjdGFuZ2xlAAVNYW5hZ2VkSWQAEAAAAAQb/lFaWUB/RZSfDM4aUvlaCEhhc0NoYW5nZXMAAAhVc2VOYW1lSW5zdGVhZE9mVGFnQXNJZAAACFNoYXBlUHJldmlvdXNseUNyZWF0ZWQAAQNGaWxsQ29sb3IAVQAAABBBAP8AAAAQUgDxAAAAEEcA8QAAABBCAPEAAAABU2NBAAAAAAAAAPA/AVNjUgAAAADg3SXsPwFTY0cAAAAA4N0l7D8BU2NCAAAAAODdJew/ABBGaWxsVGhlbWVDb2xvcgAAAAAAAUZpbGxUaW50QW5kU2hhZGUAAAAAAAAAAAAQRmlsbFNjaGVtZUNvbG9yAAAAAAADUGF0dGVybkNvbG9yAFUAAAAQQQAAAAAAEFIAAAAAABBHAAAAAAAQQgAAAAAAAVNjQQAAAAAAAAAAAAFTY1IAAAAAAAAAAAABU2NHAAAAAAAAAAAAAVNjQgAAAAAAAAAAAAAQUGF0dGVyblRoZW1lQ29sb3IAAAAAAAFQYXR0ZXJuVGludEFuZFNoYWRlAAAAAAAAAAAACEZpbGxWaXNpYmxlAAEIVmlzaWJsZQABAkZpbGxQYXR0ZXJuABAAAABtc29QYXR0ZXJuTWl4ZWQAAlRleHRIb3Jpem9udGFsQWxpZ25tZW50AA4AAABtc29BbmNob3JOb25lAAJUZXh0VmVydGljYWxBbGlnbm1lbnQADQAAAG1zb0FuY2hvclRvcAADRm9udFN0eWxlACwBAAAQRm9udEJhY2tncm91bmQAAAAAAAhGb250Qm9sZAAAA0ZvbnRDb2xvcgBVAAAAEEEAAAAAABBSAAAAAAAQRwAAAAAAEEIAAAAAAAFTY0EAAAAAAAAAAAABU2NSAAAAAAAAAAAAAVNjRwAAAAAAAAAAAAFTY0IAAAAAAAAAAAAAEEZvbnRUaGVtZUNvbG9yAAAAAAABRm9udFRpbnRBbmRTaGFkZQAAAAAAAAAAABBGb250U2NoZW1lQ29sb3IAAAAAAAhGb250SXRhbGljAAABRm9udFNpemUAAAAAAAAAAAAIRm9udFN0cmlrZXRocm91Z2gAAAhGb250U3Vic2NyaXB0AAAIRm9udFN1cGVyc2NyaXB0AAAIRm9udFVuZGVybGluZQAAAAhTaXplVG9UZXh0V2lkdGgAAAhTaXplVG9UZXh0SGVpZ2h0AAADVGV4dE1hcmdpbgA/AAAAAUxlZnQAAAAAAAAAAAABVG9wAAAAAAAAAAAAAVJpZ2h0AAAAAAAAAAAAAUJvdHRvbQAAAAAAAAAAAAABSGVpZ2h0AAAAAGD4unRAAVdpZHRoAAAAAAA="/>
  <p:tag name="EMPOWERCHARTSPROPERTIES_SLOT" val="B"/>
  <p:tag name="EMPOWERCHARTSPROPERTIES_B_LENGTH" val="53657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d675dde-8e26-484b-afb3-58a71ca78eef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77a84dc-a37f-48e6-9c39-3fd1bf68ec18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6c8681c-7b18-4ec7-a0ce-765ee7baf42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236049f-3353-4b11-865d-6773e00df68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c915018-002b-4117-8756-a02473c63d5b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fb55f27-da78-464d-bade-5e4967b87b1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82d526f-a07a-4926-8c55-2e407f41cbf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68368b3-e5f5-443c-a875-e75bf83ce5b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5c76879-3512-4fc1-b453-5d6075217a0b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8409bfc-e890-46d4-8bc3-ad22d991199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cf76c6f-0eb3-4429-b4e0-f75cd291f6e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b076fe2-abd3-40df-9697-7e006b41727c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40bae07-8e03-4b92-9dee-8c1d0b6defeb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2f8bde0-1222-424c-9701-36211d67b1bc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a9fdb81-9b02-496b-9398-70b2713e35df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48c159a-5779-4834-8d50-f055bc692b38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11858b2c-8c08-43b0-befe-f46bbb54af6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0858ad3-adf2-4288-96a7-df8b0d2fd5e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b3c4adb-ecb5-4839-8638-5dbd636eb47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a946a31d-acf7-4996-b990-fc50effa488f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c6dba5a-db51-4de1-9bdf-0f5a148f36a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dcf953a4-6e4d-4b7a-974d-9c31167f9a6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5af1c33-a3d7-41e2-81aa-0b2cc0b601fc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870020f-a03c-4cdb-93da-f90fcdd7538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a411180-60d9-4f97-8222-054ed6c08ff9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0825a18-b2ed-4dc3-9be4-8e497adcd82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0acf1376-6bba-47c7-ba51-495a3c53459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5f0ebc4a-99e5-44d0-bc82-6335c52f7bc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f4cbe1d-eb23-4c8c-b2c9-55651dee88a8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7f8755b6-ba42-4b68-b5ac-e0ffdfccdac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68fa83f2-7a6b-40c4-88df-ac8bcb8c2b1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ceefff4-b38a-4c2c-b478-2c813d9e179f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0ac8f66-04a4-41a7-9aaa-815c55f7411b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96f91e0-45db-4d18-b06b-a12ca6c37658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b464b472-9873-4d92-8bd2-6b124864d6a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26b1bbe4-3fb0-4ae3-ac5b-fa373d42a3cf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93b8e246-aa35-4f1a-bd7f-98452404b56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f5dd2dbf-add3-4dc8-93ee-6817844bddff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4b7e0fdd-384f-46df-a33d-7770675a76b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c958b4f7-f80f-440c-8e19-8bc149732ec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e5acf879-3054-48d5-94c8-fe86d81104eb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89194fee-77c0-4144-a3d4-3acf32c67e9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ANAGED_ID" val="3b37407d-e243-453e-9ed5-75b6b845f3c6"/>
</p:tagLst>
</file>

<file path=ppt/theme/theme1.xml><?xml version="1.0" encoding="utf-8"?>
<a:theme xmlns:a="http://schemas.openxmlformats.org/drawingml/2006/main" name="DividendVTI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Dividend">
      <a:majorFont>
        <a:latin typeface="Franklin Gothic Demi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VTI" id="{97558BDE-0B66-457C-BB6F-7B1B22DAA9B8}" vid="{F53508A3-AC60-448A-AF37-934D5F1A0D5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a6f7af69-f2b9-4320-90c9-afdd625a4b7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1256D4C17B5E4BA2418A15C770A4B3" ma:contentTypeVersion="13" ma:contentTypeDescription="Create a new document." ma:contentTypeScope="" ma:versionID="31c906334aaacc5d24cb5b92307f1da4">
  <xsd:schema xmlns:xsd="http://www.w3.org/2001/XMLSchema" xmlns:xs="http://www.w3.org/2001/XMLSchema" xmlns:p="http://schemas.microsoft.com/office/2006/metadata/properties" xmlns:ns3="a6f7af69-f2b9-4320-90c9-afdd625a4b7c" xmlns:ns4="eefd1152-010c-4d15-bc0d-25c02a0b14ea" targetNamespace="http://schemas.microsoft.com/office/2006/metadata/properties" ma:root="true" ma:fieldsID="e8f72d851976edcf103e98d1fd337e60" ns3:_="" ns4:_="">
    <xsd:import namespace="a6f7af69-f2b9-4320-90c9-afdd625a4b7c"/>
    <xsd:import namespace="eefd1152-010c-4d15-bc0d-25c02a0b14e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f7af69-f2b9-4320-90c9-afdd625a4b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fd1152-010c-4d15-bc0d-25c02a0b14e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7BD4C1-B6B1-4715-ABF9-E660A51A4E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D289AE2-D2AE-49D1-AFAC-3A79F6794255}">
  <ds:schemaRefs>
    <ds:schemaRef ds:uri="http://schemas.microsoft.com/office/2006/metadata/properties"/>
    <ds:schemaRef ds:uri="http://schemas.microsoft.com/office/infopath/2007/PartnerControls"/>
    <ds:schemaRef ds:uri="a6f7af69-f2b9-4320-90c9-afdd625a4b7c"/>
  </ds:schemaRefs>
</ds:datastoreItem>
</file>

<file path=customXml/itemProps3.xml><?xml version="1.0" encoding="utf-8"?>
<ds:datastoreItem xmlns:ds="http://schemas.openxmlformats.org/officeDocument/2006/customXml" ds:itemID="{E186D516-283B-49AC-8045-D28123880A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f7af69-f2b9-4320-90c9-afdd625a4b7c"/>
    <ds:schemaRef ds:uri="eefd1152-010c-4d15-bc0d-25c02a0b14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9</Words>
  <Application>Microsoft Office PowerPoint</Application>
  <PresentationFormat>Widescreen</PresentationFormat>
  <Paragraphs>108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Franklin Gothic Book</vt:lpstr>
      <vt:lpstr>Franklin Gothic Demi</vt:lpstr>
      <vt:lpstr>Wingdings 2</vt:lpstr>
      <vt:lpstr>DividendVTI</vt:lpstr>
      <vt:lpstr>Support isobmff and CR3  in Exiv2 &amp; Darktable  </vt:lpstr>
      <vt:lpstr>PowerPoint Presentation</vt:lpstr>
      <vt:lpstr>Exiv2 tasks</vt:lpstr>
      <vt:lpstr>DARKTABLE &amp; RAWspeed tasks</vt:lpstr>
      <vt:lpstr>Legal Issue</vt:lpstr>
      <vt:lpstr>Further potentials Blockers</vt:lpstr>
      <vt:lpstr>PowerPoint Presentation</vt:lpstr>
      <vt:lpstr>Project time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ort isobmff in Exiv2 and CR3 in Darktable  </dc:title>
  <dc:creator>Esseling, Alexander</dc:creator>
  <cp:lastModifiedBy>Esseling, Alexander</cp:lastModifiedBy>
  <cp:revision>1</cp:revision>
  <dcterms:created xsi:type="dcterms:W3CDTF">2021-01-08T14:57:45Z</dcterms:created>
  <dcterms:modified xsi:type="dcterms:W3CDTF">2021-01-08T17:31:19Z</dcterms:modified>
</cp:coreProperties>
</file>